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3.xml" ContentType="application/vnd.openxmlformats-officedocument.them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4"/>
    <p:sldMasterId id="2147483679" r:id="rId5"/>
    <p:sldMasterId id="2147483762" r:id="rId6"/>
  </p:sldMasterIdLst>
  <p:notesMasterIdLst>
    <p:notesMasterId r:id="rId22"/>
  </p:notesMasterIdLst>
  <p:handoutMasterIdLst>
    <p:handoutMasterId r:id="rId23"/>
  </p:handoutMasterIdLst>
  <p:sldIdLst>
    <p:sldId id="411" r:id="rId7"/>
    <p:sldId id="2147472756" r:id="rId8"/>
    <p:sldId id="2147472757" r:id="rId9"/>
    <p:sldId id="2147472758" r:id="rId10"/>
    <p:sldId id="2147472759" r:id="rId11"/>
    <p:sldId id="2147472760" r:id="rId12"/>
    <p:sldId id="2147472761" r:id="rId13"/>
    <p:sldId id="2147472762" r:id="rId14"/>
    <p:sldId id="2147472763" r:id="rId15"/>
    <p:sldId id="2147472764" r:id="rId16"/>
    <p:sldId id="2147472765" r:id="rId17"/>
    <p:sldId id="2147472766" r:id="rId18"/>
    <p:sldId id="2147472767" r:id="rId19"/>
    <p:sldId id="2147472768" r:id="rId20"/>
    <p:sldId id="2147472769" r:id="rId21"/>
  </p:sldIdLst>
  <p:sldSz cx="12192000" cy="6858000"/>
  <p:notesSz cx="7010400" cy="9296400"/>
  <p:custDataLst>
    <p:tags r:id="rId24"/>
  </p:custDataLst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ULO" id="{F957C858-2589-45A6-80B7-282F646CA735}">
          <p14:sldIdLst>
            <p14:sldId id="411"/>
            <p14:sldId id="2147472756"/>
            <p14:sldId id="2147472757"/>
            <p14:sldId id="2147472758"/>
            <p14:sldId id="2147472759"/>
            <p14:sldId id="2147472760"/>
            <p14:sldId id="2147472761"/>
            <p14:sldId id="2147472762"/>
            <p14:sldId id="2147472763"/>
            <p14:sldId id="2147472764"/>
            <p14:sldId id="2147472765"/>
            <p14:sldId id="2147472766"/>
            <p14:sldId id="2147472767"/>
            <p14:sldId id="2147472768"/>
            <p14:sldId id="2147472769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5C79B20-3E2A-9225-2D6E-A0EB1C0C71EB}" name="Leal Millán, Catalina Andrea" initials="CL" userId="S::calealm@achs.cl::0e25c7da-065a-4810-ae1d-dbce2481533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3C045"/>
    <a:srgbClr val="348FFF"/>
    <a:srgbClr val="7EFF45"/>
    <a:srgbClr val="004C14"/>
    <a:srgbClr val="26FF5F"/>
    <a:srgbClr val="FC952E"/>
    <a:srgbClr val="FF5050"/>
    <a:srgbClr val="D6E8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854D4B4-2E3D-4D6D-BEBE-E6D6C4228C4B}" v="17" dt="2024-12-29T21:51:20.56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16" autoAdjust="0"/>
    <p:restoredTop sz="96357" autoAdjust="0"/>
  </p:normalViewPr>
  <p:slideViewPr>
    <p:cSldViewPr snapToGrid="0">
      <p:cViewPr varScale="1">
        <p:scale>
          <a:sx n="61" d="100"/>
          <a:sy n="61" d="100"/>
        </p:scale>
        <p:origin x="792" y="78"/>
      </p:cViewPr>
      <p:guideLst/>
    </p:cSldViewPr>
  </p:slideViewPr>
  <p:outlineViewPr>
    <p:cViewPr>
      <p:scale>
        <a:sx n="33" d="100"/>
        <a:sy n="33" d="100"/>
      </p:scale>
      <p:origin x="0" y="-2743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0960"/>
    </p:cViewPr>
  </p:sorterViewPr>
  <p:notesViewPr>
    <p:cSldViewPr snapToGrid="0">
      <p:cViewPr varScale="1">
        <p:scale>
          <a:sx n="59" d="100"/>
          <a:sy n="59" d="100"/>
        </p:scale>
        <p:origin x="2790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microsoft.com/office/2018/10/relationships/authors" Target="author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presProps" Target="presProps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ags" Target="tags/tag1.xml"/><Relationship Id="rId32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eal Millán, Catalina Andrea" userId="0e25c7da-065a-4810-ae1d-dbce24815332" providerId="ADAL" clId="{3854D4B4-2E3D-4D6D-BEBE-E6D6C4228C4B}"/>
    <pc:docChg chg="undo custSel addSld delSld modSld delMainMaster delSection modSection">
      <pc:chgData name="Leal Millán, Catalina Andrea" userId="0e25c7da-065a-4810-ae1d-dbce24815332" providerId="ADAL" clId="{3854D4B4-2E3D-4D6D-BEBE-E6D6C4228C4B}" dt="2024-12-29T21:53:15.677" v="153" actId="13926"/>
      <pc:docMkLst>
        <pc:docMk/>
      </pc:docMkLst>
      <pc:sldChg chg="modSp add mod">
        <pc:chgData name="Leal Millán, Catalina Andrea" userId="0e25c7da-065a-4810-ae1d-dbce24815332" providerId="ADAL" clId="{3854D4B4-2E3D-4D6D-BEBE-E6D6C4228C4B}" dt="2024-12-29T21:53:06.194" v="151" actId="13926"/>
        <pc:sldMkLst>
          <pc:docMk/>
          <pc:sldMk cId="277877207" sldId="411"/>
        </pc:sldMkLst>
        <pc:spChg chg="mod">
          <ac:chgData name="Leal Millán, Catalina Andrea" userId="0e25c7da-065a-4810-ae1d-dbce24815332" providerId="ADAL" clId="{3854D4B4-2E3D-4D6D-BEBE-E6D6C4228C4B}" dt="2024-12-29T21:53:06.194" v="151" actId="13926"/>
          <ac:spMkLst>
            <pc:docMk/>
            <pc:sldMk cId="277877207" sldId="411"/>
            <ac:spMk id="4" creationId="{91F9BECC-E3D5-F74A-8CCA-F19AB6986DF1}"/>
          </ac:spMkLst>
        </pc:spChg>
      </pc:sldChg>
      <pc:sldChg chg="del">
        <pc:chgData name="Leal Millán, Catalina Andrea" userId="0e25c7da-065a-4810-ae1d-dbce24815332" providerId="ADAL" clId="{3854D4B4-2E3D-4D6D-BEBE-E6D6C4228C4B}" dt="2024-12-29T21:52:55.965" v="149" actId="47"/>
        <pc:sldMkLst>
          <pc:docMk/>
          <pc:sldMk cId="3335504326" sldId="451"/>
        </pc:sldMkLst>
      </pc:sldChg>
      <pc:sldChg chg="modSp add mod">
        <pc:chgData name="Leal Millán, Catalina Andrea" userId="0e25c7da-065a-4810-ae1d-dbce24815332" providerId="ADAL" clId="{3854D4B4-2E3D-4D6D-BEBE-E6D6C4228C4B}" dt="2024-12-29T21:53:15.677" v="153" actId="13926"/>
        <pc:sldMkLst>
          <pc:docMk/>
          <pc:sldMk cId="4155204189" sldId="781"/>
        </pc:sldMkLst>
        <pc:spChg chg="mod">
          <ac:chgData name="Leal Millán, Catalina Andrea" userId="0e25c7da-065a-4810-ae1d-dbce24815332" providerId="ADAL" clId="{3854D4B4-2E3D-4D6D-BEBE-E6D6C4228C4B}" dt="2024-12-29T21:53:15.677" v="153" actId="13926"/>
          <ac:spMkLst>
            <pc:docMk/>
            <pc:sldMk cId="4155204189" sldId="781"/>
            <ac:spMk id="4" creationId="{91F9BECC-E3D5-F74A-8CCA-F19AB6986DF1}"/>
          </ac:spMkLst>
        </pc:spChg>
      </pc:sldChg>
      <pc:sldChg chg="del">
        <pc:chgData name="Leal Millán, Catalina Andrea" userId="0e25c7da-065a-4810-ae1d-dbce24815332" providerId="ADAL" clId="{3854D4B4-2E3D-4D6D-BEBE-E6D6C4228C4B}" dt="2024-12-29T21:52:19.114" v="144" actId="18676"/>
        <pc:sldMkLst>
          <pc:docMk/>
          <pc:sldMk cId="1101713698" sldId="2147373991"/>
        </pc:sldMkLst>
      </pc:sldChg>
      <pc:sldChg chg="del">
        <pc:chgData name="Leal Millán, Catalina Andrea" userId="0e25c7da-065a-4810-ae1d-dbce24815332" providerId="ADAL" clId="{3854D4B4-2E3D-4D6D-BEBE-E6D6C4228C4B}" dt="2024-12-29T21:52:24.187" v="145" actId="18676"/>
        <pc:sldMkLst>
          <pc:docMk/>
          <pc:sldMk cId="2230281738" sldId="2147374000"/>
        </pc:sldMkLst>
      </pc:sldChg>
      <pc:sldChg chg="del">
        <pc:chgData name="Leal Millán, Catalina Andrea" userId="0e25c7da-065a-4810-ae1d-dbce24815332" providerId="ADAL" clId="{3854D4B4-2E3D-4D6D-BEBE-E6D6C4228C4B}" dt="2024-12-29T21:52:24.187" v="145" actId="18676"/>
        <pc:sldMkLst>
          <pc:docMk/>
          <pc:sldMk cId="248844345" sldId="2147374001"/>
        </pc:sldMkLst>
      </pc:sldChg>
      <pc:sldChg chg="del">
        <pc:chgData name="Leal Millán, Catalina Andrea" userId="0e25c7da-065a-4810-ae1d-dbce24815332" providerId="ADAL" clId="{3854D4B4-2E3D-4D6D-BEBE-E6D6C4228C4B}" dt="2024-12-29T21:52:31.948" v="146" actId="18676"/>
        <pc:sldMkLst>
          <pc:docMk/>
          <pc:sldMk cId="2665787499" sldId="2147472696"/>
        </pc:sldMkLst>
      </pc:sldChg>
      <pc:sldChg chg="del">
        <pc:chgData name="Leal Millán, Catalina Andrea" userId="0e25c7da-065a-4810-ae1d-dbce24815332" providerId="ADAL" clId="{3854D4B4-2E3D-4D6D-BEBE-E6D6C4228C4B}" dt="2024-12-29T21:52:24.187" v="145" actId="18676"/>
        <pc:sldMkLst>
          <pc:docMk/>
          <pc:sldMk cId="1319697306" sldId="2147472704"/>
        </pc:sldMkLst>
      </pc:sldChg>
      <pc:sldChg chg="del">
        <pc:chgData name="Leal Millán, Catalina Andrea" userId="0e25c7da-065a-4810-ae1d-dbce24815332" providerId="ADAL" clId="{3854D4B4-2E3D-4D6D-BEBE-E6D6C4228C4B}" dt="2024-12-29T21:52:19.114" v="144" actId="18676"/>
        <pc:sldMkLst>
          <pc:docMk/>
          <pc:sldMk cId="439750175" sldId="2147472718"/>
        </pc:sldMkLst>
      </pc:sldChg>
      <pc:sldChg chg="del">
        <pc:chgData name="Leal Millán, Catalina Andrea" userId="0e25c7da-065a-4810-ae1d-dbce24815332" providerId="ADAL" clId="{3854D4B4-2E3D-4D6D-BEBE-E6D6C4228C4B}" dt="2024-12-29T21:52:31.948" v="146" actId="18676"/>
        <pc:sldMkLst>
          <pc:docMk/>
          <pc:sldMk cId="2451543254" sldId="2147472719"/>
        </pc:sldMkLst>
      </pc:sldChg>
      <pc:sldChg chg="del">
        <pc:chgData name="Leal Millán, Catalina Andrea" userId="0e25c7da-065a-4810-ae1d-dbce24815332" providerId="ADAL" clId="{3854D4B4-2E3D-4D6D-BEBE-E6D6C4228C4B}" dt="2024-12-29T21:52:31.948" v="146" actId="18676"/>
        <pc:sldMkLst>
          <pc:docMk/>
          <pc:sldMk cId="3394245416" sldId="2147472720"/>
        </pc:sldMkLst>
      </pc:sldChg>
      <pc:sldChg chg="del">
        <pc:chgData name="Leal Millán, Catalina Andrea" userId="0e25c7da-065a-4810-ae1d-dbce24815332" providerId="ADAL" clId="{3854D4B4-2E3D-4D6D-BEBE-E6D6C4228C4B}" dt="2024-12-29T21:52:42.905" v="148" actId="18676"/>
        <pc:sldMkLst>
          <pc:docMk/>
          <pc:sldMk cId="4130885534" sldId="2147472721"/>
        </pc:sldMkLst>
      </pc:sldChg>
      <pc:sldChg chg="del">
        <pc:chgData name="Leal Millán, Catalina Andrea" userId="0e25c7da-065a-4810-ae1d-dbce24815332" providerId="ADAL" clId="{3854D4B4-2E3D-4D6D-BEBE-E6D6C4228C4B}" dt="2024-12-29T21:52:42.905" v="148" actId="18676"/>
        <pc:sldMkLst>
          <pc:docMk/>
          <pc:sldMk cId="1558211148" sldId="2147472722"/>
        </pc:sldMkLst>
      </pc:sldChg>
      <pc:sldChg chg="del">
        <pc:chgData name="Leal Millán, Catalina Andrea" userId="0e25c7da-065a-4810-ae1d-dbce24815332" providerId="ADAL" clId="{3854D4B4-2E3D-4D6D-BEBE-E6D6C4228C4B}" dt="2024-12-29T21:52:31.948" v="146" actId="18676"/>
        <pc:sldMkLst>
          <pc:docMk/>
          <pc:sldMk cId="127905854" sldId="2147472732"/>
        </pc:sldMkLst>
      </pc:sldChg>
      <pc:sldChg chg="del">
        <pc:chgData name="Leal Millán, Catalina Andrea" userId="0e25c7da-065a-4810-ae1d-dbce24815332" providerId="ADAL" clId="{3854D4B4-2E3D-4D6D-BEBE-E6D6C4228C4B}" dt="2024-12-29T21:52:38.202" v="147" actId="18676"/>
        <pc:sldMkLst>
          <pc:docMk/>
          <pc:sldMk cId="4076481716" sldId="2147472734"/>
        </pc:sldMkLst>
      </pc:sldChg>
      <pc:sldChg chg="del">
        <pc:chgData name="Leal Millán, Catalina Andrea" userId="0e25c7da-065a-4810-ae1d-dbce24815332" providerId="ADAL" clId="{3854D4B4-2E3D-4D6D-BEBE-E6D6C4228C4B}" dt="2024-12-29T21:52:19.114" v="144" actId="18676"/>
        <pc:sldMkLst>
          <pc:docMk/>
          <pc:sldMk cId="3820890955" sldId="2147472741"/>
        </pc:sldMkLst>
      </pc:sldChg>
      <pc:sldChg chg="del">
        <pc:chgData name="Leal Millán, Catalina Andrea" userId="0e25c7da-065a-4810-ae1d-dbce24815332" providerId="ADAL" clId="{3854D4B4-2E3D-4D6D-BEBE-E6D6C4228C4B}" dt="2024-12-29T21:52:19.114" v="144" actId="18676"/>
        <pc:sldMkLst>
          <pc:docMk/>
          <pc:sldMk cId="1075939501" sldId="2147472742"/>
        </pc:sldMkLst>
      </pc:sldChg>
      <pc:sldChg chg="del">
        <pc:chgData name="Leal Millán, Catalina Andrea" userId="0e25c7da-065a-4810-ae1d-dbce24815332" providerId="ADAL" clId="{3854D4B4-2E3D-4D6D-BEBE-E6D6C4228C4B}" dt="2024-12-29T21:52:19.114" v="144" actId="18676"/>
        <pc:sldMkLst>
          <pc:docMk/>
          <pc:sldMk cId="1585377855" sldId="2147472743"/>
        </pc:sldMkLst>
      </pc:sldChg>
      <pc:sldChg chg="del">
        <pc:chgData name="Leal Millán, Catalina Andrea" userId="0e25c7da-065a-4810-ae1d-dbce24815332" providerId="ADAL" clId="{3854D4B4-2E3D-4D6D-BEBE-E6D6C4228C4B}" dt="2024-12-29T21:52:19.114" v="144" actId="18676"/>
        <pc:sldMkLst>
          <pc:docMk/>
          <pc:sldMk cId="935072731" sldId="2147472744"/>
        </pc:sldMkLst>
      </pc:sldChg>
      <pc:sldChg chg="del">
        <pc:chgData name="Leal Millán, Catalina Andrea" userId="0e25c7da-065a-4810-ae1d-dbce24815332" providerId="ADAL" clId="{3854D4B4-2E3D-4D6D-BEBE-E6D6C4228C4B}" dt="2024-12-29T21:52:19.114" v="144" actId="18676"/>
        <pc:sldMkLst>
          <pc:docMk/>
          <pc:sldMk cId="2371444565" sldId="2147472745"/>
        </pc:sldMkLst>
      </pc:sldChg>
      <pc:sldChg chg="del">
        <pc:chgData name="Leal Millán, Catalina Andrea" userId="0e25c7da-065a-4810-ae1d-dbce24815332" providerId="ADAL" clId="{3854D4B4-2E3D-4D6D-BEBE-E6D6C4228C4B}" dt="2024-12-29T21:52:31.948" v="146" actId="18676"/>
        <pc:sldMkLst>
          <pc:docMk/>
          <pc:sldMk cId="357727670" sldId="2147472746"/>
        </pc:sldMkLst>
      </pc:sldChg>
      <pc:sldChg chg="del">
        <pc:chgData name="Leal Millán, Catalina Andrea" userId="0e25c7da-065a-4810-ae1d-dbce24815332" providerId="ADAL" clId="{3854D4B4-2E3D-4D6D-BEBE-E6D6C4228C4B}" dt="2024-12-29T21:52:31.948" v="146" actId="18676"/>
        <pc:sldMkLst>
          <pc:docMk/>
          <pc:sldMk cId="3454771227" sldId="2147472747"/>
        </pc:sldMkLst>
      </pc:sldChg>
      <pc:sldChg chg="del">
        <pc:chgData name="Leal Millán, Catalina Andrea" userId="0e25c7da-065a-4810-ae1d-dbce24815332" providerId="ADAL" clId="{3854D4B4-2E3D-4D6D-BEBE-E6D6C4228C4B}" dt="2024-12-29T21:52:38.202" v="147" actId="18676"/>
        <pc:sldMkLst>
          <pc:docMk/>
          <pc:sldMk cId="65475383" sldId="2147472748"/>
        </pc:sldMkLst>
      </pc:sldChg>
      <pc:sldChg chg="del">
        <pc:chgData name="Leal Millán, Catalina Andrea" userId="0e25c7da-065a-4810-ae1d-dbce24815332" providerId="ADAL" clId="{3854D4B4-2E3D-4D6D-BEBE-E6D6C4228C4B}" dt="2024-12-29T21:52:38.202" v="147" actId="18676"/>
        <pc:sldMkLst>
          <pc:docMk/>
          <pc:sldMk cId="2610839272" sldId="2147472750"/>
        </pc:sldMkLst>
      </pc:sldChg>
      <pc:sldChg chg="del">
        <pc:chgData name="Leal Millán, Catalina Andrea" userId="0e25c7da-065a-4810-ae1d-dbce24815332" providerId="ADAL" clId="{3854D4B4-2E3D-4D6D-BEBE-E6D6C4228C4B}" dt="2024-12-29T21:52:38.202" v="147" actId="18676"/>
        <pc:sldMkLst>
          <pc:docMk/>
          <pc:sldMk cId="4945316" sldId="2147472751"/>
        </pc:sldMkLst>
      </pc:sldChg>
      <pc:sldChg chg="del">
        <pc:chgData name="Leal Millán, Catalina Andrea" userId="0e25c7da-065a-4810-ae1d-dbce24815332" providerId="ADAL" clId="{3854D4B4-2E3D-4D6D-BEBE-E6D6C4228C4B}" dt="2024-12-29T21:52:38.202" v="147" actId="18676"/>
        <pc:sldMkLst>
          <pc:docMk/>
          <pc:sldMk cId="4283313991" sldId="2147472752"/>
        </pc:sldMkLst>
      </pc:sldChg>
      <pc:sldChg chg="del">
        <pc:chgData name="Leal Millán, Catalina Andrea" userId="0e25c7da-065a-4810-ae1d-dbce24815332" providerId="ADAL" clId="{3854D4B4-2E3D-4D6D-BEBE-E6D6C4228C4B}" dt="2024-12-29T21:52:38.202" v="147" actId="18676"/>
        <pc:sldMkLst>
          <pc:docMk/>
          <pc:sldMk cId="405611661" sldId="2147472753"/>
        </pc:sldMkLst>
      </pc:sldChg>
      <pc:sldChg chg="del">
        <pc:chgData name="Leal Millán, Catalina Andrea" userId="0e25c7da-065a-4810-ae1d-dbce24815332" providerId="ADAL" clId="{3854D4B4-2E3D-4D6D-BEBE-E6D6C4228C4B}" dt="2024-12-29T21:52:38.202" v="147" actId="18676"/>
        <pc:sldMkLst>
          <pc:docMk/>
          <pc:sldMk cId="1794454129" sldId="2147472754"/>
        </pc:sldMkLst>
      </pc:sldChg>
      <pc:sldChg chg="del">
        <pc:chgData name="Leal Millán, Catalina Andrea" userId="0e25c7da-065a-4810-ae1d-dbce24815332" providerId="ADAL" clId="{3854D4B4-2E3D-4D6D-BEBE-E6D6C4228C4B}" dt="2024-12-29T21:52:38.202" v="147" actId="18676"/>
        <pc:sldMkLst>
          <pc:docMk/>
          <pc:sldMk cId="1231093216" sldId="2147472755"/>
        </pc:sldMkLst>
      </pc:sldChg>
      <pc:sldChg chg="addSp delSp modSp add mod">
        <pc:chgData name="Leal Millán, Catalina Andrea" userId="0e25c7da-065a-4810-ae1d-dbce24815332" providerId="ADAL" clId="{3854D4B4-2E3D-4D6D-BEBE-E6D6C4228C4B}" dt="2024-12-29T21:43:09.258" v="12" actId="113"/>
        <pc:sldMkLst>
          <pc:docMk/>
          <pc:sldMk cId="2031625872" sldId="2147472756"/>
        </pc:sldMkLst>
        <pc:spChg chg="add del mod">
          <ac:chgData name="Leal Millán, Catalina Andrea" userId="0e25c7da-065a-4810-ae1d-dbce24815332" providerId="ADAL" clId="{3854D4B4-2E3D-4D6D-BEBE-E6D6C4228C4B}" dt="2024-12-29T21:42:18.510" v="6" actId="478"/>
          <ac:spMkLst>
            <pc:docMk/>
            <pc:sldMk cId="2031625872" sldId="2147472756"/>
            <ac:spMk id="4" creationId="{AF2EDE8F-8817-F235-B82C-A52F14EDFA4B}"/>
          </ac:spMkLst>
        </pc:spChg>
        <pc:spChg chg="add mod">
          <ac:chgData name="Leal Millán, Catalina Andrea" userId="0e25c7da-065a-4810-ae1d-dbce24815332" providerId="ADAL" clId="{3854D4B4-2E3D-4D6D-BEBE-E6D6C4228C4B}" dt="2024-12-29T21:43:09.258" v="12" actId="113"/>
          <ac:spMkLst>
            <pc:docMk/>
            <pc:sldMk cId="2031625872" sldId="2147472756"/>
            <ac:spMk id="5" creationId="{0DBB5AA1-35F6-72FE-E7AE-38B21F95AEDC}"/>
          </ac:spMkLst>
        </pc:spChg>
        <pc:spChg chg="del">
          <ac:chgData name="Leal Millán, Catalina Andrea" userId="0e25c7da-065a-4810-ae1d-dbce24815332" providerId="ADAL" clId="{3854D4B4-2E3D-4D6D-BEBE-E6D6C4228C4B}" dt="2024-12-29T21:42:17.320" v="5" actId="478"/>
          <ac:spMkLst>
            <pc:docMk/>
            <pc:sldMk cId="2031625872" sldId="2147472756"/>
            <ac:spMk id="18" creationId="{0520657B-7891-FC4A-3D4E-AEC717C7C391}"/>
          </ac:spMkLst>
        </pc:spChg>
        <pc:spChg chg="del mod">
          <ac:chgData name="Leal Millán, Catalina Andrea" userId="0e25c7da-065a-4810-ae1d-dbce24815332" providerId="ADAL" clId="{3854D4B4-2E3D-4D6D-BEBE-E6D6C4228C4B}" dt="2024-12-29T21:42:15.838" v="4" actId="478"/>
          <ac:spMkLst>
            <pc:docMk/>
            <pc:sldMk cId="2031625872" sldId="2147472756"/>
            <ac:spMk id="21" creationId="{61207804-2F98-F81B-A0A6-10CE5270390C}"/>
          </ac:spMkLst>
        </pc:spChg>
        <pc:picChg chg="del">
          <ac:chgData name="Leal Millán, Catalina Andrea" userId="0e25c7da-065a-4810-ae1d-dbce24815332" providerId="ADAL" clId="{3854D4B4-2E3D-4D6D-BEBE-E6D6C4228C4B}" dt="2024-12-29T21:42:13.033" v="2" actId="478"/>
          <ac:picMkLst>
            <pc:docMk/>
            <pc:sldMk cId="2031625872" sldId="2147472756"/>
            <ac:picMk id="3" creationId="{13F5C12B-6615-4952-6BFC-368E2CA282B5}"/>
          </ac:picMkLst>
        </pc:picChg>
        <pc:picChg chg="add mod">
          <ac:chgData name="Leal Millán, Catalina Andrea" userId="0e25c7da-065a-4810-ae1d-dbce24815332" providerId="ADAL" clId="{3854D4B4-2E3D-4D6D-BEBE-E6D6C4228C4B}" dt="2024-12-29T21:42:53.218" v="9"/>
          <ac:picMkLst>
            <pc:docMk/>
            <pc:sldMk cId="2031625872" sldId="2147472756"/>
            <ac:picMk id="7" creationId="{D5FB1DFF-D641-216C-0929-3455B1266168}"/>
          </ac:picMkLst>
        </pc:picChg>
      </pc:sldChg>
      <pc:sldChg chg="addSp delSp modSp add mod">
        <pc:chgData name="Leal Millán, Catalina Andrea" userId="0e25c7da-065a-4810-ae1d-dbce24815332" providerId="ADAL" clId="{3854D4B4-2E3D-4D6D-BEBE-E6D6C4228C4B}" dt="2024-12-29T21:43:52.303" v="21" actId="478"/>
        <pc:sldMkLst>
          <pc:docMk/>
          <pc:sldMk cId="3873809738" sldId="2147472757"/>
        </pc:sldMkLst>
        <pc:spChg chg="add mod">
          <ac:chgData name="Leal Millán, Catalina Andrea" userId="0e25c7da-065a-4810-ae1d-dbce24815332" providerId="ADAL" clId="{3854D4B4-2E3D-4D6D-BEBE-E6D6C4228C4B}" dt="2024-12-29T21:43:47.085" v="19" actId="113"/>
          <ac:spMkLst>
            <pc:docMk/>
            <pc:sldMk cId="3873809738" sldId="2147472757"/>
            <ac:spMk id="2" creationId="{BCB44692-8D50-023C-BB10-5D7815042B47}"/>
          </ac:spMkLst>
        </pc:spChg>
        <pc:spChg chg="add mod">
          <ac:chgData name="Leal Millán, Catalina Andrea" userId="0e25c7da-065a-4810-ae1d-dbce24815332" providerId="ADAL" clId="{3854D4B4-2E3D-4D6D-BEBE-E6D6C4228C4B}" dt="2024-12-29T21:43:27.245" v="16"/>
          <ac:spMkLst>
            <pc:docMk/>
            <pc:sldMk cId="3873809738" sldId="2147472757"/>
            <ac:spMk id="4" creationId="{A59E6A9A-0358-407E-75F6-399169C4A45B}"/>
          </ac:spMkLst>
        </pc:spChg>
        <pc:spChg chg="add del mod">
          <ac:chgData name="Leal Millán, Catalina Andrea" userId="0e25c7da-065a-4810-ae1d-dbce24815332" providerId="ADAL" clId="{3854D4B4-2E3D-4D6D-BEBE-E6D6C4228C4B}" dt="2024-12-29T21:43:52.303" v="21" actId="478"/>
          <ac:spMkLst>
            <pc:docMk/>
            <pc:sldMk cId="3873809738" sldId="2147472757"/>
            <ac:spMk id="5" creationId="{833BF165-459D-A6BE-4657-DE51792C037E}"/>
          </ac:spMkLst>
        </pc:spChg>
        <pc:spChg chg="del">
          <ac:chgData name="Leal Millán, Catalina Andrea" userId="0e25c7da-065a-4810-ae1d-dbce24815332" providerId="ADAL" clId="{3854D4B4-2E3D-4D6D-BEBE-E6D6C4228C4B}" dt="2024-12-29T21:43:21.631" v="15" actId="478"/>
          <ac:spMkLst>
            <pc:docMk/>
            <pc:sldMk cId="3873809738" sldId="2147472757"/>
            <ac:spMk id="18" creationId="{8C2EF35C-78FF-98BA-5C79-05D6A0E333DF}"/>
          </ac:spMkLst>
        </pc:spChg>
        <pc:spChg chg="del">
          <ac:chgData name="Leal Millán, Catalina Andrea" userId="0e25c7da-065a-4810-ae1d-dbce24815332" providerId="ADAL" clId="{3854D4B4-2E3D-4D6D-BEBE-E6D6C4228C4B}" dt="2024-12-29T21:43:20.964" v="14" actId="478"/>
          <ac:spMkLst>
            <pc:docMk/>
            <pc:sldMk cId="3873809738" sldId="2147472757"/>
            <ac:spMk id="19" creationId="{68D5B5C1-CB3C-AB05-14DC-7F79AEA6C6C9}"/>
          </ac:spMkLst>
        </pc:spChg>
        <pc:picChg chg="del">
          <ac:chgData name="Leal Millán, Catalina Andrea" userId="0e25c7da-065a-4810-ae1d-dbce24815332" providerId="ADAL" clId="{3854D4B4-2E3D-4D6D-BEBE-E6D6C4228C4B}" dt="2024-12-29T21:43:19.796" v="13" actId="478"/>
          <ac:picMkLst>
            <pc:docMk/>
            <pc:sldMk cId="3873809738" sldId="2147472757"/>
            <ac:picMk id="3" creationId="{566DFB0A-88D6-5445-F2E1-1531DFDF4896}"/>
          </ac:picMkLst>
        </pc:picChg>
      </pc:sldChg>
      <pc:sldChg chg="addSp delSp modSp add mod">
        <pc:chgData name="Leal Millán, Catalina Andrea" userId="0e25c7da-065a-4810-ae1d-dbce24815332" providerId="ADAL" clId="{3854D4B4-2E3D-4D6D-BEBE-E6D6C4228C4B}" dt="2024-12-29T21:44:52.111" v="30" actId="5793"/>
        <pc:sldMkLst>
          <pc:docMk/>
          <pc:sldMk cId="3912347500" sldId="2147472758"/>
        </pc:sldMkLst>
        <pc:spChg chg="del">
          <ac:chgData name="Leal Millán, Catalina Andrea" userId="0e25c7da-065a-4810-ae1d-dbce24815332" providerId="ADAL" clId="{3854D4B4-2E3D-4D6D-BEBE-E6D6C4228C4B}" dt="2024-12-29T21:44:38.677" v="26" actId="478"/>
          <ac:spMkLst>
            <pc:docMk/>
            <pc:sldMk cId="3912347500" sldId="2147472758"/>
            <ac:spMk id="2" creationId="{A1A064BF-EE0A-26D9-7947-64FDD6BBA2EE}"/>
          </ac:spMkLst>
        </pc:spChg>
        <pc:spChg chg="add mod">
          <ac:chgData name="Leal Millán, Catalina Andrea" userId="0e25c7da-065a-4810-ae1d-dbce24815332" providerId="ADAL" clId="{3854D4B4-2E3D-4D6D-BEBE-E6D6C4228C4B}" dt="2024-12-29T21:44:52.111" v="30" actId="5793"/>
          <ac:spMkLst>
            <pc:docMk/>
            <pc:sldMk cId="3912347500" sldId="2147472758"/>
            <ac:spMk id="3" creationId="{93B76EBB-B29D-A98A-EF7E-F5BCC9C40D1F}"/>
          </ac:spMkLst>
        </pc:spChg>
        <pc:spChg chg="del mod">
          <ac:chgData name="Leal Millán, Catalina Andrea" userId="0e25c7da-065a-4810-ae1d-dbce24815332" providerId="ADAL" clId="{3854D4B4-2E3D-4D6D-BEBE-E6D6C4228C4B}" dt="2024-12-29T21:44:35.030" v="25" actId="478"/>
          <ac:spMkLst>
            <pc:docMk/>
            <pc:sldMk cId="3912347500" sldId="2147472758"/>
            <ac:spMk id="4" creationId="{B89DCC56-7BF9-6F05-5D81-3CE2611D0DF6}"/>
          </ac:spMkLst>
        </pc:spChg>
        <pc:spChg chg="add mod">
          <ac:chgData name="Leal Millán, Catalina Andrea" userId="0e25c7da-065a-4810-ae1d-dbce24815332" providerId="ADAL" clId="{3854D4B4-2E3D-4D6D-BEBE-E6D6C4228C4B}" dt="2024-12-29T21:44:39.342" v="27"/>
          <ac:spMkLst>
            <pc:docMk/>
            <pc:sldMk cId="3912347500" sldId="2147472758"/>
            <ac:spMk id="5" creationId="{1DC4E542-6F7B-FE95-F715-9F77354F4F51}"/>
          </ac:spMkLst>
        </pc:spChg>
        <pc:spChg chg="add mod">
          <ac:chgData name="Leal Millán, Catalina Andrea" userId="0e25c7da-065a-4810-ae1d-dbce24815332" providerId="ADAL" clId="{3854D4B4-2E3D-4D6D-BEBE-E6D6C4228C4B}" dt="2024-12-29T21:44:39.342" v="27"/>
          <ac:spMkLst>
            <pc:docMk/>
            <pc:sldMk cId="3912347500" sldId="2147472758"/>
            <ac:spMk id="8" creationId="{5A2C7431-2CEB-6541-B9CF-DBBC38B6ED1C}"/>
          </ac:spMkLst>
        </pc:spChg>
        <pc:spChg chg="add mod">
          <ac:chgData name="Leal Millán, Catalina Andrea" userId="0e25c7da-065a-4810-ae1d-dbce24815332" providerId="ADAL" clId="{3854D4B4-2E3D-4D6D-BEBE-E6D6C4228C4B}" dt="2024-12-29T21:44:39.342" v="27"/>
          <ac:spMkLst>
            <pc:docMk/>
            <pc:sldMk cId="3912347500" sldId="2147472758"/>
            <ac:spMk id="9" creationId="{C27BACCB-9CFD-2B61-2CEB-F88F940B8CB1}"/>
          </ac:spMkLst>
        </pc:spChg>
        <pc:spChg chg="add mod">
          <ac:chgData name="Leal Millán, Catalina Andrea" userId="0e25c7da-065a-4810-ae1d-dbce24815332" providerId="ADAL" clId="{3854D4B4-2E3D-4D6D-BEBE-E6D6C4228C4B}" dt="2024-12-29T21:44:39.342" v="27"/>
          <ac:spMkLst>
            <pc:docMk/>
            <pc:sldMk cId="3912347500" sldId="2147472758"/>
            <ac:spMk id="10" creationId="{859EB0F7-A172-5117-2C23-C33B660D5705}"/>
          </ac:spMkLst>
        </pc:spChg>
        <pc:spChg chg="add mod">
          <ac:chgData name="Leal Millán, Catalina Andrea" userId="0e25c7da-065a-4810-ae1d-dbce24815332" providerId="ADAL" clId="{3854D4B4-2E3D-4D6D-BEBE-E6D6C4228C4B}" dt="2024-12-29T21:44:39.342" v="27"/>
          <ac:spMkLst>
            <pc:docMk/>
            <pc:sldMk cId="3912347500" sldId="2147472758"/>
            <ac:spMk id="11" creationId="{82E4DC94-A682-7EB2-FFE3-50E3F057CD08}"/>
          </ac:spMkLst>
        </pc:spChg>
        <pc:spChg chg="add mod">
          <ac:chgData name="Leal Millán, Catalina Andrea" userId="0e25c7da-065a-4810-ae1d-dbce24815332" providerId="ADAL" clId="{3854D4B4-2E3D-4D6D-BEBE-E6D6C4228C4B}" dt="2024-12-29T21:44:39.342" v="27"/>
          <ac:spMkLst>
            <pc:docMk/>
            <pc:sldMk cId="3912347500" sldId="2147472758"/>
            <ac:spMk id="12" creationId="{907B01F6-429B-80F5-AE42-B055CF40B8E2}"/>
          </ac:spMkLst>
        </pc:spChg>
        <pc:spChg chg="add mod">
          <ac:chgData name="Leal Millán, Catalina Andrea" userId="0e25c7da-065a-4810-ae1d-dbce24815332" providerId="ADAL" clId="{3854D4B4-2E3D-4D6D-BEBE-E6D6C4228C4B}" dt="2024-12-29T21:44:39.342" v="27"/>
          <ac:spMkLst>
            <pc:docMk/>
            <pc:sldMk cId="3912347500" sldId="2147472758"/>
            <ac:spMk id="13" creationId="{12220868-AFB6-33C8-65E1-FB744F1E2FD8}"/>
          </ac:spMkLst>
        </pc:spChg>
        <pc:spChg chg="add mod">
          <ac:chgData name="Leal Millán, Catalina Andrea" userId="0e25c7da-065a-4810-ae1d-dbce24815332" providerId="ADAL" clId="{3854D4B4-2E3D-4D6D-BEBE-E6D6C4228C4B}" dt="2024-12-29T21:44:39.342" v="27"/>
          <ac:spMkLst>
            <pc:docMk/>
            <pc:sldMk cId="3912347500" sldId="2147472758"/>
            <ac:spMk id="14" creationId="{BD485217-9D43-20B7-E7CE-440EBCE2ED79}"/>
          </ac:spMkLst>
        </pc:spChg>
        <pc:spChg chg="add mod">
          <ac:chgData name="Leal Millán, Catalina Andrea" userId="0e25c7da-065a-4810-ae1d-dbce24815332" providerId="ADAL" clId="{3854D4B4-2E3D-4D6D-BEBE-E6D6C4228C4B}" dt="2024-12-29T21:44:39.342" v="27"/>
          <ac:spMkLst>
            <pc:docMk/>
            <pc:sldMk cId="3912347500" sldId="2147472758"/>
            <ac:spMk id="15" creationId="{557F8B8B-F8DE-0F58-9C05-95402832B1C4}"/>
          </ac:spMkLst>
        </pc:spChg>
        <pc:spChg chg="add mod">
          <ac:chgData name="Leal Millán, Catalina Andrea" userId="0e25c7da-065a-4810-ae1d-dbce24815332" providerId="ADAL" clId="{3854D4B4-2E3D-4D6D-BEBE-E6D6C4228C4B}" dt="2024-12-29T21:44:39.342" v="27"/>
          <ac:spMkLst>
            <pc:docMk/>
            <pc:sldMk cId="3912347500" sldId="2147472758"/>
            <ac:spMk id="16" creationId="{1245B0D2-789F-7677-2978-279913CEE807}"/>
          </ac:spMkLst>
        </pc:spChg>
        <pc:spChg chg="add mod">
          <ac:chgData name="Leal Millán, Catalina Andrea" userId="0e25c7da-065a-4810-ae1d-dbce24815332" providerId="ADAL" clId="{3854D4B4-2E3D-4D6D-BEBE-E6D6C4228C4B}" dt="2024-12-29T21:44:39.342" v="27"/>
          <ac:spMkLst>
            <pc:docMk/>
            <pc:sldMk cId="3912347500" sldId="2147472758"/>
            <ac:spMk id="17" creationId="{FC5C59BC-57AC-D71E-5728-FD901082D693}"/>
          </ac:spMkLst>
        </pc:spChg>
        <pc:spChg chg="add mod">
          <ac:chgData name="Leal Millán, Catalina Andrea" userId="0e25c7da-065a-4810-ae1d-dbce24815332" providerId="ADAL" clId="{3854D4B4-2E3D-4D6D-BEBE-E6D6C4228C4B}" dt="2024-12-29T21:44:39.342" v="27"/>
          <ac:spMkLst>
            <pc:docMk/>
            <pc:sldMk cId="3912347500" sldId="2147472758"/>
            <ac:spMk id="18" creationId="{0798CF27-03CD-CF0B-E52F-5C64A178F8E6}"/>
          </ac:spMkLst>
        </pc:spChg>
        <pc:spChg chg="add mod">
          <ac:chgData name="Leal Millán, Catalina Andrea" userId="0e25c7da-065a-4810-ae1d-dbce24815332" providerId="ADAL" clId="{3854D4B4-2E3D-4D6D-BEBE-E6D6C4228C4B}" dt="2024-12-29T21:44:39.342" v="27"/>
          <ac:spMkLst>
            <pc:docMk/>
            <pc:sldMk cId="3912347500" sldId="2147472758"/>
            <ac:spMk id="19" creationId="{40177157-6967-4BE3-91A6-2E587444E64B}"/>
          </ac:spMkLst>
        </pc:spChg>
        <pc:spChg chg="add mod">
          <ac:chgData name="Leal Millán, Catalina Andrea" userId="0e25c7da-065a-4810-ae1d-dbce24815332" providerId="ADAL" clId="{3854D4B4-2E3D-4D6D-BEBE-E6D6C4228C4B}" dt="2024-12-29T21:44:39.342" v="27"/>
          <ac:spMkLst>
            <pc:docMk/>
            <pc:sldMk cId="3912347500" sldId="2147472758"/>
            <ac:spMk id="20" creationId="{E3375F6E-8A04-CA0B-7059-B82DBA389700}"/>
          </ac:spMkLst>
        </pc:spChg>
        <pc:spChg chg="add mod">
          <ac:chgData name="Leal Millán, Catalina Andrea" userId="0e25c7da-065a-4810-ae1d-dbce24815332" providerId="ADAL" clId="{3854D4B4-2E3D-4D6D-BEBE-E6D6C4228C4B}" dt="2024-12-29T21:44:39.342" v="27"/>
          <ac:spMkLst>
            <pc:docMk/>
            <pc:sldMk cId="3912347500" sldId="2147472758"/>
            <ac:spMk id="22" creationId="{A0BACD55-D1D9-7CF6-72BC-21BD8885AE5A}"/>
          </ac:spMkLst>
        </pc:spChg>
        <pc:spChg chg="add mod">
          <ac:chgData name="Leal Millán, Catalina Andrea" userId="0e25c7da-065a-4810-ae1d-dbce24815332" providerId="ADAL" clId="{3854D4B4-2E3D-4D6D-BEBE-E6D6C4228C4B}" dt="2024-12-29T21:44:39.342" v="27"/>
          <ac:spMkLst>
            <pc:docMk/>
            <pc:sldMk cId="3912347500" sldId="2147472758"/>
            <ac:spMk id="23" creationId="{AACFC743-D160-5E15-6CC2-D0DAFBA91F3C}"/>
          </ac:spMkLst>
        </pc:spChg>
        <pc:spChg chg="add mod">
          <ac:chgData name="Leal Millán, Catalina Andrea" userId="0e25c7da-065a-4810-ae1d-dbce24815332" providerId="ADAL" clId="{3854D4B4-2E3D-4D6D-BEBE-E6D6C4228C4B}" dt="2024-12-29T21:44:39.342" v="27"/>
          <ac:spMkLst>
            <pc:docMk/>
            <pc:sldMk cId="3912347500" sldId="2147472758"/>
            <ac:spMk id="24" creationId="{57B277DF-EC71-B8E2-00E3-8F793080B8BD}"/>
          </ac:spMkLst>
        </pc:spChg>
        <pc:spChg chg="add mod">
          <ac:chgData name="Leal Millán, Catalina Andrea" userId="0e25c7da-065a-4810-ae1d-dbce24815332" providerId="ADAL" clId="{3854D4B4-2E3D-4D6D-BEBE-E6D6C4228C4B}" dt="2024-12-29T21:44:39.342" v="27"/>
          <ac:spMkLst>
            <pc:docMk/>
            <pc:sldMk cId="3912347500" sldId="2147472758"/>
            <ac:spMk id="25" creationId="{671B2EBB-5F52-2486-650E-427253A9839F}"/>
          </ac:spMkLst>
        </pc:spChg>
        <pc:spChg chg="add mod">
          <ac:chgData name="Leal Millán, Catalina Andrea" userId="0e25c7da-065a-4810-ae1d-dbce24815332" providerId="ADAL" clId="{3854D4B4-2E3D-4D6D-BEBE-E6D6C4228C4B}" dt="2024-12-29T21:44:39.342" v="27"/>
          <ac:spMkLst>
            <pc:docMk/>
            <pc:sldMk cId="3912347500" sldId="2147472758"/>
            <ac:spMk id="26" creationId="{188D124C-4080-4282-CEE5-8E17B967F0FB}"/>
          </ac:spMkLst>
        </pc:spChg>
        <pc:spChg chg="add mod">
          <ac:chgData name="Leal Millán, Catalina Andrea" userId="0e25c7da-065a-4810-ae1d-dbce24815332" providerId="ADAL" clId="{3854D4B4-2E3D-4D6D-BEBE-E6D6C4228C4B}" dt="2024-12-29T21:44:39.342" v="27"/>
          <ac:spMkLst>
            <pc:docMk/>
            <pc:sldMk cId="3912347500" sldId="2147472758"/>
            <ac:spMk id="27" creationId="{16172E44-249C-A58D-BEB1-7741B6983973}"/>
          </ac:spMkLst>
        </pc:spChg>
        <pc:spChg chg="add mod">
          <ac:chgData name="Leal Millán, Catalina Andrea" userId="0e25c7da-065a-4810-ae1d-dbce24815332" providerId="ADAL" clId="{3854D4B4-2E3D-4D6D-BEBE-E6D6C4228C4B}" dt="2024-12-29T21:44:39.342" v="27"/>
          <ac:spMkLst>
            <pc:docMk/>
            <pc:sldMk cId="3912347500" sldId="2147472758"/>
            <ac:spMk id="28" creationId="{A031B6BD-4057-F59B-F6D7-42C598A3E427}"/>
          </ac:spMkLst>
        </pc:spChg>
        <pc:spChg chg="add mod">
          <ac:chgData name="Leal Millán, Catalina Andrea" userId="0e25c7da-065a-4810-ae1d-dbce24815332" providerId="ADAL" clId="{3854D4B4-2E3D-4D6D-BEBE-E6D6C4228C4B}" dt="2024-12-29T21:44:39.342" v="27"/>
          <ac:spMkLst>
            <pc:docMk/>
            <pc:sldMk cId="3912347500" sldId="2147472758"/>
            <ac:spMk id="29" creationId="{14353D52-E876-E35A-7B83-245434C16A51}"/>
          </ac:spMkLst>
        </pc:spChg>
        <pc:spChg chg="add mod">
          <ac:chgData name="Leal Millán, Catalina Andrea" userId="0e25c7da-065a-4810-ae1d-dbce24815332" providerId="ADAL" clId="{3854D4B4-2E3D-4D6D-BEBE-E6D6C4228C4B}" dt="2024-12-29T21:44:39.342" v="27"/>
          <ac:spMkLst>
            <pc:docMk/>
            <pc:sldMk cId="3912347500" sldId="2147472758"/>
            <ac:spMk id="30" creationId="{B31CCD73-7CD3-D9B5-84E1-3F9BAA93F09E}"/>
          </ac:spMkLst>
        </pc:spChg>
        <pc:spChg chg="add mod">
          <ac:chgData name="Leal Millán, Catalina Andrea" userId="0e25c7da-065a-4810-ae1d-dbce24815332" providerId="ADAL" clId="{3854D4B4-2E3D-4D6D-BEBE-E6D6C4228C4B}" dt="2024-12-29T21:44:39.342" v="27"/>
          <ac:spMkLst>
            <pc:docMk/>
            <pc:sldMk cId="3912347500" sldId="2147472758"/>
            <ac:spMk id="31" creationId="{3643C936-2918-2CB7-2F20-F380456AA0BB}"/>
          </ac:spMkLst>
        </pc:spChg>
        <pc:cxnChg chg="add mod">
          <ac:chgData name="Leal Millán, Catalina Andrea" userId="0e25c7da-065a-4810-ae1d-dbce24815332" providerId="ADAL" clId="{3854D4B4-2E3D-4D6D-BEBE-E6D6C4228C4B}" dt="2024-12-29T21:44:39.342" v="27"/>
          <ac:cxnSpMkLst>
            <pc:docMk/>
            <pc:sldMk cId="3912347500" sldId="2147472758"/>
            <ac:cxnSpMk id="7" creationId="{869D5AB5-4AEE-CDF1-4163-040375632CBB}"/>
          </ac:cxnSpMkLst>
        </pc:cxnChg>
      </pc:sldChg>
      <pc:sldChg chg="addSp delSp modSp add mod">
        <pc:chgData name="Leal Millán, Catalina Andrea" userId="0e25c7da-065a-4810-ae1d-dbce24815332" providerId="ADAL" clId="{3854D4B4-2E3D-4D6D-BEBE-E6D6C4228C4B}" dt="2024-12-29T21:45:18.417" v="36" actId="5793"/>
        <pc:sldMkLst>
          <pc:docMk/>
          <pc:sldMk cId="745251119" sldId="2147472759"/>
        </pc:sldMkLst>
        <pc:spChg chg="del">
          <ac:chgData name="Leal Millán, Catalina Andrea" userId="0e25c7da-065a-4810-ae1d-dbce24815332" providerId="ADAL" clId="{3854D4B4-2E3D-4D6D-BEBE-E6D6C4228C4B}" dt="2024-12-29T21:45:08.719" v="32" actId="478"/>
          <ac:spMkLst>
            <pc:docMk/>
            <pc:sldMk cId="745251119" sldId="2147472759"/>
            <ac:spMk id="2" creationId="{454E860E-3196-C044-D88F-BA1E1D699823}"/>
          </ac:spMkLst>
        </pc:spChg>
        <pc:spChg chg="add mod">
          <ac:chgData name="Leal Millán, Catalina Andrea" userId="0e25c7da-065a-4810-ae1d-dbce24815332" providerId="ADAL" clId="{3854D4B4-2E3D-4D6D-BEBE-E6D6C4228C4B}" dt="2024-12-29T21:45:18.417" v="36" actId="5793"/>
          <ac:spMkLst>
            <pc:docMk/>
            <pc:sldMk cId="745251119" sldId="2147472759"/>
            <ac:spMk id="3" creationId="{B5585E59-2AA1-7FDC-D4FA-73271AFC8A01}"/>
          </ac:spMkLst>
        </pc:spChg>
        <pc:spChg chg="del">
          <ac:chgData name="Leal Millán, Catalina Andrea" userId="0e25c7da-065a-4810-ae1d-dbce24815332" providerId="ADAL" clId="{3854D4B4-2E3D-4D6D-BEBE-E6D6C4228C4B}" dt="2024-12-29T21:45:06.451" v="31" actId="478"/>
          <ac:spMkLst>
            <pc:docMk/>
            <pc:sldMk cId="745251119" sldId="2147472759"/>
            <ac:spMk id="4" creationId="{E1B36972-D648-596B-C3C1-DBB647A506B1}"/>
          </ac:spMkLst>
        </pc:spChg>
        <pc:spChg chg="add mod">
          <ac:chgData name="Leal Millán, Catalina Andrea" userId="0e25c7da-065a-4810-ae1d-dbce24815332" providerId="ADAL" clId="{3854D4B4-2E3D-4D6D-BEBE-E6D6C4228C4B}" dt="2024-12-29T21:45:09.072" v="33"/>
          <ac:spMkLst>
            <pc:docMk/>
            <pc:sldMk cId="745251119" sldId="2147472759"/>
            <ac:spMk id="5" creationId="{16058B4C-1E83-1ACE-A14F-D4FAFB825945}"/>
          </ac:spMkLst>
        </pc:spChg>
      </pc:sldChg>
      <pc:sldChg chg="addSp delSp modSp add mod">
        <pc:chgData name="Leal Millán, Catalina Andrea" userId="0e25c7da-065a-4810-ae1d-dbce24815332" providerId="ADAL" clId="{3854D4B4-2E3D-4D6D-BEBE-E6D6C4228C4B}" dt="2024-12-29T21:45:43.110" v="44" actId="113"/>
        <pc:sldMkLst>
          <pc:docMk/>
          <pc:sldMk cId="257495433" sldId="2147472760"/>
        </pc:sldMkLst>
        <pc:spChg chg="add mod">
          <ac:chgData name="Leal Millán, Catalina Andrea" userId="0e25c7da-065a-4810-ae1d-dbce24815332" providerId="ADAL" clId="{3854D4B4-2E3D-4D6D-BEBE-E6D6C4228C4B}" dt="2024-12-29T21:45:43.110" v="44" actId="113"/>
          <ac:spMkLst>
            <pc:docMk/>
            <pc:sldMk cId="257495433" sldId="2147472760"/>
            <ac:spMk id="2" creationId="{D0310465-4C6C-DF73-FFEC-4759EB07D682}"/>
          </ac:spMkLst>
        </pc:spChg>
        <pc:spChg chg="del">
          <ac:chgData name="Leal Millán, Catalina Andrea" userId="0e25c7da-065a-4810-ae1d-dbce24815332" providerId="ADAL" clId="{3854D4B4-2E3D-4D6D-BEBE-E6D6C4228C4B}" dt="2024-12-29T21:45:32.953" v="40" actId="478"/>
          <ac:spMkLst>
            <pc:docMk/>
            <pc:sldMk cId="257495433" sldId="2147472760"/>
            <ac:spMk id="3" creationId="{CBA3FB46-2C06-3789-DE50-256F6EF9476B}"/>
          </ac:spMkLst>
        </pc:spChg>
        <pc:spChg chg="add mod">
          <ac:chgData name="Leal Millán, Catalina Andrea" userId="0e25c7da-065a-4810-ae1d-dbce24815332" providerId="ADAL" clId="{3854D4B4-2E3D-4D6D-BEBE-E6D6C4228C4B}" dt="2024-12-29T21:45:33.944" v="41"/>
          <ac:spMkLst>
            <pc:docMk/>
            <pc:sldMk cId="257495433" sldId="2147472760"/>
            <ac:spMk id="4" creationId="{DA88F193-E54D-F802-8A59-030B783C1F54}"/>
          </ac:spMkLst>
        </pc:spChg>
        <pc:spChg chg="del">
          <ac:chgData name="Leal Millán, Catalina Andrea" userId="0e25c7da-065a-4810-ae1d-dbce24815332" providerId="ADAL" clId="{3854D4B4-2E3D-4D6D-BEBE-E6D6C4228C4B}" dt="2024-12-29T21:45:31.765" v="39" actId="478"/>
          <ac:spMkLst>
            <pc:docMk/>
            <pc:sldMk cId="257495433" sldId="2147472760"/>
            <ac:spMk id="5" creationId="{0D11288C-2BB9-408F-3CDB-6B5F8155A22E}"/>
          </ac:spMkLst>
        </pc:spChg>
      </pc:sldChg>
      <pc:sldChg chg="addSp delSp modSp add mod">
        <pc:chgData name="Leal Millán, Catalina Andrea" userId="0e25c7da-065a-4810-ae1d-dbce24815332" providerId="ADAL" clId="{3854D4B4-2E3D-4D6D-BEBE-E6D6C4228C4B}" dt="2024-12-29T21:46:18.326" v="54" actId="14100"/>
        <pc:sldMkLst>
          <pc:docMk/>
          <pc:sldMk cId="3568387310" sldId="2147472761"/>
        </pc:sldMkLst>
        <pc:spChg chg="add mod">
          <ac:chgData name="Leal Millán, Catalina Andrea" userId="0e25c7da-065a-4810-ae1d-dbce24815332" providerId="ADAL" clId="{3854D4B4-2E3D-4D6D-BEBE-E6D6C4228C4B}" dt="2024-12-29T21:46:03.135" v="51" actId="113"/>
          <ac:spMkLst>
            <pc:docMk/>
            <pc:sldMk cId="3568387310" sldId="2147472761"/>
            <ac:spMk id="2" creationId="{394BA31C-FB30-076D-46F5-72F35B95BF42}"/>
          </ac:spMkLst>
        </pc:spChg>
        <pc:spChg chg="del">
          <ac:chgData name="Leal Millán, Catalina Andrea" userId="0e25c7da-065a-4810-ae1d-dbce24815332" providerId="ADAL" clId="{3854D4B4-2E3D-4D6D-BEBE-E6D6C4228C4B}" dt="2024-12-29T21:45:54.870" v="47" actId="478"/>
          <ac:spMkLst>
            <pc:docMk/>
            <pc:sldMk cId="3568387310" sldId="2147472761"/>
            <ac:spMk id="3" creationId="{6007DE62-BE2B-8B1D-5C39-6DD4D06D0D30}"/>
          </ac:spMkLst>
        </pc:spChg>
        <pc:spChg chg="add mod">
          <ac:chgData name="Leal Millán, Catalina Andrea" userId="0e25c7da-065a-4810-ae1d-dbce24815332" providerId="ADAL" clId="{3854D4B4-2E3D-4D6D-BEBE-E6D6C4228C4B}" dt="2024-12-29T21:46:18.326" v="54" actId="14100"/>
          <ac:spMkLst>
            <pc:docMk/>
            <pc:sldMk cId="3568387310" sldId="2147472761"/>
            <ac:spMk id="4" creationId="{B1E83C60-DE83-1486-4903-33213821564B}"/>
          </ac:spMkLst>
        </pc:spChg>
        <pc:spChg chg="del mod">
          <ac:chgData name="Leal Millán, Catalina Andrea" userId="0e25c7da-065a-4810-ae1d-dbce24815332" providerId="ADAL" clId="{3854D4B4-2E3D-4D6D-BEBE-E6D6C4228C4B}" dt="2024-12-29T21:45:52.363" v="46" actId="478"/>
          <ac:spMkLst>
            <pc:docMk/>
            <pc:sldMk cId="3568387310" sldId="2147472761"/>
            <ac:spMk id="5" creationId="{B9F3371F-3BDB-B414-9D4F-4A5FF8488A6B}"/>
          </ac:spMkLst>
        </pc:spChg>
      </pc:sldChg>
      <pc:sldChg chg="addSp delSp modSp new mod">
        <pc:chgData name="Leal Millán, Catalina Andrea" userId="0e25c7da-065a-4810-ae1d-dbce24815332" providerId="ADAL" clId="{3854D4B4-2E3D-4D6D-BEBE-E6D6C4228C4B}" dt="2024-12-29T21:47:02.144" v="62" actId="478"/>
        <pc:sldMkLst>
          <pc:docMk/>
          <pc:sldMk cId="2939536879" sldId="2147472762"/>
        </pc:sldMkLst>
        <pc:spChg chg="del">
          <ac:chgData name="Leal Millán, Catalina Andrea" userId="0e25c7da-065a-4810-ae1d-dbce24815332" providerId="ADAL" clId="{3854D4B4-2E3D-4D6D-BEBE-E6D6C4228C4B}" dt="2024-12-29T21:46:58.603" v="61" actId="478"/>
          <ac:spMkLst>
            <pc:docMk/>
            <pc:sldMk cId="2939536879" sldId="2147472762"/>
            <ac:spMk id="2" creationId="{D8056096-1344-DDD7-C672-DEF48D75D589}"/>
          </ac:spMkLst>
        </pc:spChg>
        <pc:spChg chg="del">
          <ac:chgData name="Leal Millán, Catalina Andrea" userId="0e25c7da-065a-4810-ae1d-dbce24815332" providerId="ADAL" clId="{3854D4B4-2E3D-4D6D-BEBE-E6D6C4228C4B}" dt="2024-12-29T21:47:02.144" v="62" actId="478"/>
          <ac:spMkLst>
            <pc:docMk/>
            <pc:sldMk cId="2939536879" sldId="2147472762"/>
            <ac:spMk id="3" creationId="{9F27BDE8-6CA0-0488-FE58-01EB56AA72C4}"/>
          </ac:spMkLst>
        </pc:spChg>
        <pc:spChg chg="add mod">
          <ac:chgData name="Leal Millán, Catalina Andrea" userId="0e25c7da-065a-4810-ae1d-dbce24815332" providerId="ADAL" clId="{3854D4B4-2E3D-4D6D-BEBE-E6D6C4228C4B}" dt="2024-12-29T21:46:47.039" v="59" actId="113"/>
          <ac:spMkLst>
            <pc:docMk/>
            <pc:sldMk cId="2939536879" sldId="2147472762"/>
            <ac:spMk id="4" creationId="{D04A7202-F22E-2B07-8DBD-EB53B1B4FF2F}"/>
          </ac:spMkLst>
        </pc:spChg>
        <pc:spChg chg="add mod">
          <ac:chgData name="Leal Millán, Catalina Andrea" userId="0e25c7da-065a-4810-ae1d-dbce24815332" providerId="ADAL" clId="{3854D4B4-2E3D-4D6D-BEBE-E6D6C4228C4B}" dt="2024-12-29T21:46:55.944" v="60" actId="1076"/>
          <ac:spMkLst>
            <pc:docMk/>
            <pc:sldMk cId="2939536879" sldId="2147472762"/>
            <ac:spMk id="5" creationId="{F044E394-1CE9-B15C-638F-AE71461F2200}"/>
          </ac:spMkLst>
        </pc:spChg>
      </pc:sldChg>
      <pc:sldChg chg="addSp delSp modSp new mod">
        <pc:chgData name="Leal Millán, Catalina Andrea" userId="0e25c7da-065a-4810-ae1d-dbce24815332" providerId="ADAL" clId="{3854D4B4-2E3D-4D6D-BEBE-E6D6C4228C4B}" dt="2024-12-29T21:47:58.878" v="90" actId="20577"/>
        <pc:sldMkLst>
          <pc:docMk/>
          <pc:sldMk cId="2368643708" sldId="2147472763"/>
        </pc:sldMkLst>
        <pc:spChg chg="del">
          <ac:chgData name="Leal Millán, Catalina Andrea" userId="0e25c7da-065a-4810-ae1d-dbce24815332" providerId="ADAL" clId="{3854D4B4-2E3D-4D6D-BEBE-E6D6C4228C4B}" dt="2024-12-29T21:47:10.998" v="64" actId="478"/>
          <ac:spMkLst>
            <pc:docMk/>
            <pc:sldMk cId="2368643708" sldId="2147472763"/>
            <ac:spMk id="2" creationId="{FE35EC60-2890-C3A1-52EE-EC2FD84F7F65}"/>
          </ac:spMkLst>
        </pc:spChg>
        <pc:spChg chg="del">
          <ac:chgData name="Leal Millán, Catalina Andrea" userId="0e25c7da-065a-4810-ae1d-dbce24815332" providerId="ADAL" clId="{3854D4B4-2E3D-4D6D-BEBE-E6D6C4228C4B}" dt="2024-12-29T21:47:12.354" v="65" actId="478"/>
          <ac:spMkLst>
            <pc:docMk/>
            <pc:sldMk cId="2368643708" sldId="2147472763"/>
            <ac:spMk id="3" creationId="{DC2509C2-0D8B-079B-D706-9EDA676564AE}"/>
          </ac:spMkLst>
        </pc:spChg>
        <pc:spChg chg="add mod">
          <ac:chgData name="Leal Millán, Catalina Andrea" userId="0e25c7da-065a-4810-ae1d-dbce24815332" providerId="ADAL" clId="{3854D4B4-2E3D-4D6D-BEBE-E6D6C4228C4B}" dt="2024-12-29T21:47:58.878" v="90" actId="20577"/>
          <ac:spMkLst>
            <pc:docMk/>
            <pc:sldMk cId="2368643708" sldId="2147472763"/>
            <ac:spMk id="4" creationId="{9C1CFF08-054E-FEA6-B857-38FEDF4750F2}"/>
          </ac:spMkLst>
        </pc:spChg>
        <pc:spChg chg="add del mod">
          <ac:chgData name="Leal Millán, Catalina Andrea" userId="0e25c7da-065a-4810-ae1d-dbce24815332" providerId="ADAL" clId="{3854D4B4-2E3D-4D6D-BEBE-E6D6C4228C4B}" dt="2024-12-29T21:47:45.023" v="70" actId="478"/>
          <ac:spMkLst>
            <pc:docMk/>
            <pc:sldMk cId="2368643708" sldId="2147472763"/>
            <ac:spMk id="5" creationId="{9480CCE0-36D1-AB03-CAB7-9791EAA8CC51}"/>
          </ac:spMkLst>
        </pc:spChg>
        <pc:spChg chg="add mod">
          <ac:chgData name="Leal Millán, Catalina Andrea" userId="0e25c7da-065a-4810-ae1d-dbce24815332" providerId="ADAL" clId="{3854D4B4-2E3D-4D6D-BEBE-E6D6C4228C4B}" dt="2024-12-29T21:47:45.271" v="71"/>
          <ac:spMkLst>
            <pc:docMk/>
            <pc:sldMk cId="2368643708" sldId="2147472763"/>
            <ac:spMk id="6" creationId="{63D35C5E-9BD7-F865-1AB5-AE4E8C6FA644}"/>
          </ac:spMkLst>
        </pc:spChg>
      </pc:sldChg>
      <pc:sldChg chg="addSp delSp modSp new mod">
        <pc:chgData name="Leal Millán, Catalina Andrea" userId="0e25c7da-065a-4810-ae1d-dbce24815332" providerId="ADAL" clId="{3854D4B4-2E3D-4D6D-BEBE-E6D6C4228C4B}" dt="2024-12-29T21:48:17.994" v="97" actId="113"/>
        <pc:sldMkLst>
          <pc:docMk/>
          <pc:sldMk cId="1752371400" sldId="2147472764"/>
        </pc:sldMkLst>
        <pc:spChg chg="del">
          <ac:chgData name="Leal Millán, Catalina Andrea" userId="0e25c7da-065a-4810-ae1d-dbce24815332" providerId="ADAL" clId="{3854D4B4-2E3D-4D6D-BEBE-E6D6C4228C4B}" dt="2024-12-29T21:48:04.071" v="92" actId="478"/>
          <ac:spMkLst>
            <pc:docMk/>
            <pc:sldMk cId="1752371400" sldId="2147472764"/>
            <ac:spMk id="2" creationId="{C7684DDF-654A-59D0-980F-2862BCC21787}"/>
          </ac:spMkLst>
        </pc:spChg>
        <pc:spChg chg="del">
          <ac:chgData name="Leal Millán, Catalina Andrea" userId="0e25c7da-065a-4810-ae1d-dbce24815332" providerId="ADAL" clId="{3854D4B4-2E3D-4D6D-BEBE-E6D6C4228C4B}" dt="2024-12-29T21:48:05.160" v="93" actId="478"/>
          <ac:spMkLst>
            <pc:docMk/>
            <pc:sldMk cId="1752371400" sldId="2147472764"/>
            <ac:spMk id="3" creationId="{12AE8DDD-BB47-10AE-EA6A-F0005346DAC9}"/>
          </ac:spMkLst>
        </pc:spChg>
        <pc:spChg chg="add mod">
          <ac:chgData name="Leal Millán, Catalina Andrea" userId="0e25c7da-065a-4810-ae1d-dbce24815332" providerId="ADAL" clId="{3854D4B4-2E3D-4D6D-BEBE-E6D6C4228C4B}" dt="2024-12-29T21:48:17.994" v="97" actId="113"/>
          <ac:spMkLst>
            <pc:docMk/>
            <pc:sldMk cId="1752371400" sldId="2147472764"/>
            <ac:spMk id="4" creationId="{A20C9D70-C4FA-4861-F636-EB40457508CA}"/>
          </ac:spMkLst>
        </pc:spChg>
        <pc:spChg chg="add mod">
          <ac:chgData name="Leal Millán, Catalina Andrea" userId="0e25c7da-065a-4810-ae1d-dbce24815332" providerId="ADAL" clId="{3854D4B4-2E3D-4D6D-BEBE-E6D6C4228C4B}" dt="2024-12-29T21:48:11.270" v="94"/>
          <ac:spMkLst>
            <pc:docMk/>
            <pc:sldMk cId="1752371400" sldId="2147472764"/>
            <ac:spMk id="5" creationId="{328A1CE2-BA4D-3BB2-BF72-7C99CCED321E}"/>
          </ac:spMkLst>
        </pc:spChg>
      </pc:sldChg>
      <pc:sldChg chg="addSp delSp modSp new mod">
        <pc:chgData name="Leal Millán, Catalina Andrea" userId="0e25c7da-065a-4810-ae1d-dbce24815332" providerId="ADAL" clId="{3854D4B4-2E3D-4D6D-BEBE-E6D6C4228C4B}" dt="2024-12-29T21:48:42.197" v="104" actId="5793"/>
        <pc:sldMkLst>
          <pc:docMk/>
          <pc:sldMk cId="2115528692" sldId="2147472765"/>
        </pc:sldMkLst>
        <pc:spChg chg="del">
          <ac:chgData name="Leal Millán, Catalina Andrea" userId="0e25c7da-065a-4810-ae1d-dbce24815332" providerId="ADAL" clId="{3854D4B4-2E3D-4D6D-BEBE-E6D6C4228C4B}" dt="2024-12-29T21:48:29.543" v="99" actId="478"/>
          <ac:spMkLst>
            <pc:docMk/>
            <pc:sldMk cId="2115528692" sldId="2147472765"/>
            <ac:spMk id="2" creationId="{0EBD7035-5515-8A88-7C7C-AE644E17C32A}"/>
          </ac:spMkLst>
        </pc:spChg>
        <pc:spChg chg="del">
          <ac:chgData name="Leal Millán, Catalina Andrea" userId="0e25c7da-065a-4810-ae1d-dbce24815332" providerId="ADAL" clId="{3854D4B4-2E3D-4D6D-BEBE-E6D6C4228C4B}" dt="2024-12-29T21:48:31.790" v="100" actId="478"/>
          <ac:spMkLst>
            <pc:docMk/>
            <pc:sldMk cId="2115528692" sldId="2147472765"/>
            <ac:spMk id="3" creationId="{19F840E9-B20A-AF78-26D8-F58F05074811}"/>
          </ac:spMkLst>
        </pc:spChg>
        <pc:spChg chg="add mod">
          <ac:chgData name="Leal Millán, Catalina Andrea" userId="0e25c7da-065a-4810-ae1d-dbce24815332" providerId="ADAL" clId="{3854D4B4-2E3D-4D6D-BEBE-E6D6C4228C4B}" dt="2024-12-29T21:48:42.197" v="104" actId="5793"/>
          <ac:spMkLst>
            <pc:docMk/>
            <pc:sldMk cId="2115528692" sldId="2147472765"/>
            <ac:spMk id="4" creationId="{0674ED42-80A6-B738-BCC3-D2D544A1FC89}"/>
          </ac:spMkLst>
        </pc:spChg>
        <pc:spChg chg="add mod">
          <ac:chgData name="Leal Millán, Catalina Andrea" userId="0e25c7da-065a-4810-ae1d-dbce24815332" providerId="ADAL" clId="{3854D4B4-2E3D-4D6D-BEBE-E6D6C4228C4B}" dt="2024-12-29T21:48:33.015" v="101"/>
          <ac:spMkLst>
            <pc:docMk/>
            <pc:sldMk cId="2115528692" sldId="2147472765"/>
            <ac:spMk id="5" creationId="{2487F2D6-402D-74D6-C477-D2D8885BCE83}"/>
          </ac:spMkLst>
        </pc:spChg>
      </pc:sldChg>
      <pc:sldChg chg="addSp delSp modSp new mod">
        <pc:chgData name="Leal Millán, Catalina Andrea" userId="0e25c7da-065a-4810-ae1d-dbce24815332" providerId="ADAL" clId="{3854D4B4-2E3D-4D6D-BEBE-E6D6C4228C4B}" dt="2024-12-29T21:49:15.773" v="111" actId="113"/>
        <pc:sldMkLst>
          <pc:docMk/>
          <pc:sldMk cId="3370711475" sldId="2147472766"/>
        </pc:sldMkLst>
        <pc:spChg chg="del">
          <ac:chgData name="Leal Millán, Catalina Andrea" userId="0e25c7da-065a-4810-ae1d-dbce24815332" providerId="ADAL" clId="{3854D4B4-2E3D-4D6D-BEBE-E6D6C4228C4B}" dt="2024-12-29T21:49:04.182" v="106" actId="478"/>
          <ac:spMkLst>
            <pc:docMk/>
            <pc:sldMk cId="3370711475" sldId="2147472766"/>
            <ac:spMk id="2" creationId="{0BB66F6C-7B78-0D9B-182F-E7BCFC30F3D9}"/>
          </ac:spMkLst>
        </pc:spChg>
        <pc:spChg chg="del">
          <ac:chgData name="Leal Millán, Catalina Andrea" userId="0e25c7da-065a-4810-ae1d-dbce24815332" providerId="ADAL" clId="{3854D4B4-2E3D-4D6D-BEBE-E6D6C4228C4B}" dt="2024-12-29T21:49:05.466" v="107" actId="478"/>
          <ac:spMkLst>
            <pc:docMk/>
            <pc:sldMk cId="3370711475" sldId="2147472766"/>
            <ac:spMk id="3" creationId="{251468BA-ADD4-DEE5-9490-933ABD06508F}"/>
          </ac:spMkLst>
        </pc:spChg>
        <pc:spChg chg="add mod">
          <ac:chgData name="Leal Millán, Catalina Andrea" userId="0e25c7da-065a-4810-ae1d-dbce24815332" providerId="ADAL" clId="{3854D4B4-2E3D-4D6D-BEBE-E6D6C4228C4B}" dt="2024-12-29T21:49:15.773" v="111" actId="113"/>
          <ac:spMkLst>
            <pc:docMk/>
            <pc:sldMk cId="3370711475" sldId="2147472766"/>
            <ac:spMk id="4" creationId="{097C37AE-3AC4-EEA8-E244-67E942062617}"/>
          </ac:spMkLst>
        </pc:spChg>
        <pc:spChg chg="add mod">
          <ac:chgData name="Leal Millán, Catalina Andrea" userId="0e25c7da-065a-4810-ae1d-dbce24815332" providerId="ADAL" clId="{3854D4B4-2E3D-4D6D-BEBE-E6D6C4228C4B}" dt="2024-12-29T21:49:06.419" v="108"/>
          <ac:spMkLst>
            <pc:docMk/>
            <pc:sldMk cId="3370711475" sldId="2147472766"/>
            <ac:spMk id="5" creationId="{AD165819-106E-2620-015F-3A57E872FC8E}"/>
          </ac:spMkLst>
        </pc:spChg>
      </pc:sldChg>
      <pc:sldChg chg="addSp delSp modSp new mod">
        <pc:chgData name="Leal Millán, Catalina Andrea" userId="0e25c7da-065a-4810-ae1d-dbce24815332" providerId="ADAL" clId="{3854D4B4-2E3D-4D6D-BEBE-E6D6C4228C4B}" dt="2024-12-29T21:49:43.368" v="118" actId="113"/>
        <pc:sldMkLst>
          <pc:docMk/>
          <pc:sldMk cId="86141410" sldId="2147472767"/>
        </pc:sldMkLst>
        <pc:spChg chg="del">
          <ac:chgData name="Leal Millán, Catalina Andrea" userId="0e25c7da-065a-4810-ae1d-dbce24815332" providerId="ADAL" clId="{3854D4B4-2E3D-4D6D-BEBE-E6D6C4228C4B}" dt="2024-12-29T21:49:23.958" v="113" actId="478"/>
          <ac:spMkLst>
            <pc:docMk/>
            <pc:sldMk cId="86141410" sldId="2147472767"/>
            <ac:spMk id="2" creationId="{0A6F5251-462F-CD07-7A23-69B1D47454E3}"/>
          </ac:spMkLst>
        </pc:spChg>
        <pc:spChg chg="del">
          <ac:chgData name="Leal Millán, Catalina Andrea" userId="0e25c7da-065a-4810-ae1d-dbce24815332" providerId="ADAL" clId="{3854D4B4-2E3D-4D6D-BEBE-E6D6C4228C4B}" dt="2024-12-29T21:49:25.907" v="114" actId="478"/>
          <ac:spMkLst>
            <pc:docMk/>
            <pc:sldMk cId="86141410" sldId="2147472767"/>
            <ac:spMk id="3" creationId="{85BBB0B5-FF25-4A8F-3EDE-497EC48B9D0E}"/>
          </ac:spMkLst>
        </pc:spChg>
        <pc:spChg chg="add mod">
          <ac:chgData name="Leal Millán, Catalina Andrea" userId="0e25c7da-065a-4810-ae1d-dbce24815332" providerId="ADAL" clId="{3854D4B4-2E3D-4D6D-BEBE-E6D6C4228C4B}" dt="2024-12-29T21:49:43.368" v="118" actId="113"/>
          <ac:spMkLst>
            <pc:docMk/>
            <pc:sldMk cId="86141410" sldId="2147472767"/>
            <ac:spMk id="4" creationId="{6D3D803A-39D1-C967-0EC1-4E459F5B7668}"/>
          </ac:spMkLst>
        </pc:spChg>
        <pc:spChg chg="add mod">
          <ac:chgData name="Leal Millán, Catalina Andrea" userId="0e25c7da-065a-4810-ae1d-dbce24815332" providerId="ADAL" clId="{3854D4B4-2E3D-4D6D-BEBE-E6D6C4228C4B}" dt="2024-12-29T21:49:35.221" v="115"/>
          <ac:spMkLst>
            <pc:docMk/>
            <pc:sldMk cId="86141410" sldId="2147472767"/>
            <ac:spMk id="5" creationId="{3FA0064A-E4F7-7BFB-BF56-33291AE8C5CD}"/>
          </ac:spMkLst>
        </pc:spChg>
      </pc:sldChg>
      <pc:sldChg chg="addSp delSp modSp new mod">
        <pc:chgData name="Leal Millán, Catalina Andrea" userId="0e25c7da-065a-4810-ae1d-dbce24815332" providerId="ADAL" clId="{3854D4B4-2E3D-4D6D-BEBE-E6D6C4228C4B}" dt="2024-12-29T21:51:06.565" v="127" actId="33524"/>
        <pc:sldMkLst>
          <pc:docMk/>
          <pc:sldMk cId="2513909057" sldId="2147472768"/>
        </pc:sldMkLst>
        <pc:spChg chg="del mod">
          <ac:chgData name="Leal Millán, Catalina Andrea" userId="0e25c7da-065a-4810-ae1d-dbce24815332" providerId="ADAL" clId="{3854D4B4-2E3D-4D6D-BEBE-E6D6C4228C4B}" dt="2024-12-29T21:50:03.398" v="121" actId="478"/>
          <ac:spMkLst>
            <pc:docMk/>
            <pc:sldMk cId="2513909057" sldId="2147472768"/>
            <ac:spMk id="2" creationId="{4FEAC62C-95C3-F726-3F00-1A210864C793}"/>
          </ac:spMkLst>
        </pc:spChg>
        <pc:spChg chg="del">
          <ac:chgData name="Leal Millán, Catalina Andrea" userId="0e25c7da-065a-4810-ae1d-dbce24815332" providerId="ADAL" clId="{3854D4B4-2E3D-4D6D-BEBE-E6D6C4228C4B}" dt="2024-12-29T21:50:04.613" v="122" actId="478"/>
          <ac:spMkLst>
            <pc:docMk/>
            <pc:sldMk cId="2513909057" sldId="2147472768"/>
            <ac:spMk id="3" creationId="{9A66EEC1-29F5-2DE1-CFE4-F1820E6B4B49}"/>
          </ac:spMkLst>
        </pc:spChg>
        <pc:spChg chg="add mod">
          <ac:chgData name="Leal Millán, Catalina Andrea" userId="0e25c7da-065a-4810-ae1d-dbce24815332" providerId="ADAL" clId="{3854D4B4-2E3D-4D6D-BEBE-E6D6C4228C4B}" dt="2024-12-29T21:50:12.887" v="126" actId="113"/>
          <ac:spMkLst>
            <pc:docMk/>
            <pc:sldMk cId="2513909057" sldId="2147472768"/>
            <ac:spMk id="4" creationId="{B2DB5594-5803-63CE-0254-381ABBF497B4}"/>
          </ac:spMkLst>
        </pc:spChg>
        <pc:spChg chg="add mod">
          <ac:chgData name="Leal Millán, Catalina Andrea" userId="0e25c7da-065a-4810-ae1d-dbce24815332" providerId="ADAL" clId="{3854D4B4-2E3D-4D6D-BEBE-E6D6C4228C4B}" dt="2024-12-29T21:51:06.565" v="127" actId="33524"/>
          <ac:spMkLst>
            <pc:docMk/>
            <pc:sldMk cId="2513909057" sldId="2147472768"/>
            <ac:spMk id="5" creationId="{230AF8B8-1C1B-776C-9B0C-0C05F80959A9}"/>
          </ac:spMkLst>
        </pc:spChg>
      </pc:sldChg>
      <pc:sldMasterChg chg="del delSldLayout">
        <pc:chgData name="Leal Millán, Catalina Andrea" userId="0e25c7da-065a-4810-ae1d-dbce24815332" providerId="ADAL" clId="{3854D4B4-2E3D-4D6D-BEBE-E6D6C4228C4B}" dt="2024-12-29T21:52:42.905" v="148" actId="18676"/>
        <pc:sldMasterMkLst>
          <pc:docMk/>
          <pc:sldMasterMk cId="195468931" sldId="2147483648"/>
        </pc:sldMasterMkLst>
        <pc:sldLayoutChg chg="del">
          <pc:chgData name="Leal Millán, Catalina Andrea" userId="0e25c7da-065a-4810-ae1d-dbce24815332" providerId="ADAL" clId="{3854D4B4-2E3D-4D6D-BEBE-E6D6C4228C4B}" dt="2024-12-29T21:52:42.905" v="148" actId="18676"/>
          <pc:sldLayoutMkLst>
            <pc:docMk/>
            <pc:sldMasterMk cId="195468931" sldId="2147483648"/>
            <pc:sldLayoutMk cId="2847541243" sldId="2147483673"/>
          </pc:sldLayoutMkLst>
        </pc:sldLayoutChg>
        <pc:sldLayoutChg chg="del">
          <pc:chgData name="Leal Millán, Catalina Andrea" userId="0e25c7da-065a-4810-ae1d-dbce24815332" providerId="ADAL" clId="{3854D4B4-2E3D-4D6D-BEBE-E6D6C4228C4B}" dt="2024-12-29T21:52:42.905" v="148" actId="18676"/>
          <pc:sldLayoutMkLst>
            <pc:docMk/>
            <pc:sldMasterMk cId="195468931" sldId="2147483648"/>
            <pc:sldLayoutMk cId="341554331" sldId="2147483775"/>
          </pc:sldLayoutMkLst>
        </pc:sldLayoutChg>
      </pc:sldMasterChg>
      <pc:sldMasterChg chg="del delSldLayout">
        <pc:chgData name="Leal Millán, Catalina Andrea" userId="0e25c7da-065a-4810-ae1d-dbce24815332" providerId="ADAL" clId="{3854D4B4-2E3D-4D6D-BEBE-E6D6C4228C4B}" dt="2024-12-29T21:52:24.187" v="145" actId="18676"/>
        <pc:sldMasterMkLst>
          <pc:docMk/>
          <pc:sldMasterMk cId="3898868332" sldId="2147483747"/>
        </pc:sldMasterMkLst>
        <pc:sldLayoutChg chg="del">
          <pc:chgData name="Leal Millán, Catalina Andrea" userId="0e25c7da-065a-4810-ae1d-dbce24815332" providerId="ADAL" clId="{3854D4B4-2E3D-4D6D-BEBE-E6D6C4228C4B}" dt="2024-12-29T21:52:24.187" v="145" actId="18676"/>
          <pc:sldLayoutMkLst>
            <pc:docMk/>
            <pc:sldMasterMk cId="3898868332" sldId="2147483747"/>
            <pc:sldLayoutMk cId="1700276673" sldId="2147483748"/>
          </pc:sldLayoutMkLst>
        </pc:sldLayoutChg>
        <pc:sldLayoutChg chg="del">
          <pc:chgData name="Leal Millán, Catalina Andrea" userId="0e25c7da-065a-4810-ae1d-dbce24815332" providerId="ADAL" clId="{3854D4B4-2E3D-4D6D-BEBE-E6D6C4228C4B}" dt="2024-12-29T21:52:24.187" v="145" actId="18676"/>
          <pc:sldLayoutMkLst>
            <pc:docMk/>
            <pc:sldMasterMk cId="3898868332" sldId="2147483747"/>
            <pc:sldLayoutMk cId="3499101135" sldId="2147483749"/>
          </pc:sldLayoutMkLst>
        </pc:sldLayoutChg>
        <pc:sldLayoutChg chg="del">
          <pc:chgData name="Leal Millán, Catalina Andrea" userId="0e25c7da-065a-4810-ae1d-dbce24815332" providerId="ADAL" clId="{3854D4B4-2E3D-4D6D-BEBE-E6D6C4228C4B}" dt="2024-12-29T21:52:24.187" v="145" actId="18676"/>
          <pc:sldLayoutMkLst>
            <pc:docMk/>
            <pc:sldMasterMk cId="3898868332" sldId="2147483747"/>
            <pc:sldLayoutMk cId="1663171881" sldId="2147483750"/>
          </pc:sldLayoutMkLst>
        </pc:sldLayoutChg>
        <pc:sldLayoutChg chg="del">
          <pc:chgData name="Leal Millán, Catalina Andrea" userId="0e25c7da-065a-4810-ae1d-dbce24815332" providerId="ADAL" clId="{3854D4B4-2E3D-4D6D-BEBE-E6D6C4228C4B}" dt="2024-12-29T21:52:24.187" v="145" actId="18676"/>
          <pc:sldLayoutMkLst>
            <pc:docMk/>
            <pc:sldMasterMk cId="3898868332" sldId="2147483747"/>
            <pc:sldLayoutMk cId="822123110" sldId="2147483751"/>
          </pc:sldLayoutMkLst>
        </pc:sldLayoutChg>
        <pc:sldLayoutChg chg="del">
          <pc:chgData name="Leal Millán, Catalina Andrea" userId="0e25c7da-065a-4810-ae1d-dbce24815332" providerId="ADAL" clId="{3854D4B4-2E3D-4D6D-BEBE-E6D6C4228C4B}" dt="2024-12-29T21:52:24.187" v="145" actId="18676"/>
          <pc:sldLayoutMkLst>
            <pc:docMk/>
            <pc:sldMasterMk cId="3898868332" sldId="2147483747"/>
            <pc:sldLayoutMk cId="77659431" sldId="2147483752"/>
          </pc:sldLayoutMkLst>
        </pc:sldLayoutChg>
        <pc:sldLayoutChg chg="del">
          <pc:chgData name="Leal Millán, Catalina Andrea" userId="0e25c7da-065a-4810-ae1d-dbce24815332" providerId="ADAL" clId="{3854D4B4-2E3D-4D6D-BEBE-E6D6C4228C4B}" dt="2024-12-29T21:52:24.187" v="145" actId="18676"/>
          <pc:sldLayoutMkLst>
            <pc:docMk/>
            <pc:sldMasterMk cId="3898868332" sldId="2147483747"/>
            <pc:sldLayoutMk cId="1513645619" sldId="2147483753"/>
          </pc:sldLayoutMkLst>
        </pc:sldLayoutChg>
        <pc:sldLayoutChg chg="del">
          <pc:chgData name="Leal Millán, Catalina Andrea" userId="0e25c7da-065a-4810-ae1d-dbce24815332" providerId="ADAL" clId="{3854D4B4-2E3D-4D6D-BEBE-E6D6C4228C4B}" dt="2024-12-29T21:52:24.187" v="145" actId="18676"/>
          <pc:sldLayoutMkLst>
            <pc:docMk/>
            <pc:sldMasterMk cId="3898868332" sldId="2147483747"/>
            <pc:sldLayoutMk cId="1150585320" sldId="2147483754"/>
          </pc:sldLayoutMkLst>
        </pc:sldLayoutChg>
        <pc:sldLayoutChg chg="del">
          <pc:chgData name="Leal Millán, Catalina Andrea" userId="0e25c7da-065a-4810-ae1d-dbce24815332" providerId="ADAL" clId="{3854D4B4-2E3D-4D6D-BEBE-E6D6C4228C4B}" dt="2024-12-29T21:52:24.187" v="145" actId="18676"/>
          <pc:sldLayoutMkLst>
            <pc:docMk/>
            <pc:sldMasterMk cId="3898868332" sldId="2147483747"/>
            <pc:sldLayoutMk cId="1306272371" sldId="2147483755"/>
          </pc:sldLayoutMkLst>
        </pc:sldLayoutChg>
        <pc:sldLayoutChg chg="del">
          <pc:chgData name="Leal Millán, Catalina Andrea" userId="0e25c7da-065a-4810-ae1d-dbce24815332" providerId="ADAL" clId="{3854D4B4-2E3D-4D6D-BEBE-E6D6C4228C4B}" dt="2024-12-29T21:52:24.187" v="145" actId="18676"/>
          <pc:sldLayoutMkLst>
            <pc:docMk/>
            <pc:sldMasterMk cId="3898868332" sldId="2147483747"/>
            <pc:sldLayoutMk cId="2238623214" sldId="2147483756"/>
          </pc:sldLayoutMkLst>
        </pc:sldLayoutChg>
        <pc:sldLayoutChg chg="del">
          <pc:chgData name="Leal Millán, Catalina Andrea" userId="0e25c7da-065a-4810-ae1d-dbce24815332" providerId="ADAL" clId="{3854D4B4-2E3D-4D6D-BEBE-E6D6C4228C4B}" dt="2024-12-29T21:52:24.187" v="145" actId="18676"/>
          <pc:sldLayoutMkLst>
            <pc:docMk/>
            <pc:sldMasterMk cId="3898868332" sldId="2147483747"/>
            <pc:sldLayoutMk cId="675038895" sldId="2147483757"/>
          </pc:sldLayoutMkLst>
        </pc:sldLayoutChg>
        <pc:sldLayoutChg chg="del">
          <pc:chgData name="Leal Millán, Catalina Andrea" userId="0e25c7da-065a-4810-ae1d-dbce24815332" providerId="ADAL" clId="{3854D4B4-2E3D-4D6D-BEBE-E6D6C4228C4B}" dt="2024-12-29T21:52:24.187" v="145" actId="18676"/>
          <pc:sldLayoutMkLst>
            <pc:docMk/>
            <pc:sldMasterMk cId="3898868332" sldId="2147483747"/>
            <pc:sldLayoutMk cId="2089256150" sldId="2147483758"/>
          </pc:sldLayoutMkLst>
        </pc:sldLayoutChg>
        <pc:sldLayoutChg chg="del">
          <pc:chgData name="Leal Millán, Catalina Andrea" userId="0e25c7da-065a-4810-ae1d-dbce24815332" providerId="ADAL" clId="{3854D4B4-2E3D-4D6D-BEBE-E6D6C4228C4B}" dt="2024-12-29T21:52:24.187" v="145" actId="18676"/>
          <pc:sldLayoutMkLst>
            <pc:docMk/>
            <pc:sldMasterMk cId="3898868332" sldId="2147483747"/>
            <pc:sldLayoutMk cId="3272716769" sldId="2147483759"/>
          </pc:sldLayoutMkLst>
        </pc:sldLayoutChg>
        <pc:sldLayoutChg chg="del">
          <pc:chgData name="Leal Millán, Catalina Andrea" userId="0e25c7da-065a-4810-ae1d-dbce24815332" providerId="ADAL" clId="{3854D4B4-2E3D-4D6D-BEBE-E6D6C4228C4B}" dt="2024-12-29T21:52:24.187" v="145" actId="18676"/>
          <pc:sldLayoutMkLst>
            <pc:docMk/>
            <pc:sldMasterMk cId="3898868332" sldId="2147483747"/>
            <pc:sldLayoutMk cId="3010129259" sldId="2147483760"/>
          </pc:sldLayoutMkLst>
        </pc:sldLayoutChg>
        <pc:sldLayoutChg chg="del">
          <pc:chgData name="Leal Millán, Catalina Andrea" userId="0e25c7da-065a-4810-ae1d-dbce24815332" providerId="ADAL" clId="{3854D4B4-2E3D-4D6D-BEBE-E6D6C4228C4B}" dt="2024-12-29T21:52:24.187" v="145" actId="18676"/>
          <pc:sldLayoutMkLst>
            <pc:docMk/>
            <pc:sldMasterMk cId="3898868332" sldId="2147483747"/>
            <pc:sldLayoutMk cId="1340075969" sldId="2147483761"/>
          </pc:sldLayoutMkLst>
        </pc:sldLayoutChg>
        <pc:sldLayoutChg chg="del">
          <pc:chgData name="Leal Millán, Catalina Andrea" userId="0e25c7da-065a-4810-ae1d-dbce24815332" providerId="ADAL" clId="{3854D4B4-2E3D-4D6D-BEBE-E6D6C4228C4B}" dt="2024-12-29T21:52:19.114" v="144" actId="18676"/>
          <pc:sldLayoutMkLst>
            <pc:docMk/>
            <pc:sldMasterMk cId="3898868332" sldId="2147483747"/>
            <pc:sldLayoutMk cId="2475511902" sldId="2147483777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="" xmlns:a16="http://schemas.microsoft.com/office/drawing/2014/main" id="{6B2790E3-B6ED-E7E6-5D07-82843B3EC0B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s-CL" dirty="0"/>
          </a:p>
        </p:txBody>
      </p:sp>
      <p:sp>
        <p:nvSpPr>
          <p:cNvPr id="3" name="Marcador de fecha 2">
            <a:extLst>
              <a:ext uri="{FF2B5EF4-FFF2-40B4-BE49-F238E27FC236}">
                <a16:creationId xmlns="" xmlns:a16="http://schemas.microsoft.com/office/drawing/2014/main" id="{EE3A19C9-0F57-6475-631F-884B0E5B7A5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16FF8599-7029-4CF8-95BC-169911F75AAA}" type="datetimeFigureOut">
              <a:rPr lang="es-CL" smtClean="0"/>
              <a:t>14-01-2025</a:t>
            </a:fld>
            <a:endParaRPr lang="es-CL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="" xmlns:a16="http://schemas.microsoft.com/office/drawing/2014/main" id="{9866CBB2-CE96-B313-C552-1177FE96E0A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s-CL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="" xmlns:a16="http://schemas.microsoft.com/office/drawing/2014/main" id="{99EE2CCB-AE9F-49E3-9066-A616DDDDC42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F7272DF-830D-4E4A-A62B-81CF43A0216D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95674323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s-CL" dirty="0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57F30DF6-1775-470B-AB63-2D0DB4F8C554}" type="datetimeFigureOut">
              <a:rPr lang="es-CL" smtClean="0"/>
              <a:t>14-01-2025</a:t>
            </a:fld>
            <a:endParaRPr lang="es-CL" dirty="0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s-CL" dirty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s-CL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EE7F3A76-3C4B-46A8-9478-22DCFEA7A812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337809736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5.svg"/><Relationship Id="rId5" Type="http://schemas.openxmlformats.org/officeDocument/2006/relationships/image" Target="../media/image11.png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svg"/><Relationship Id="rId5" Type="http://schemas.openxmlformats.org/officeDocument/2006/relationships/image" Target="../media/image11.png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.svg"/><Relationship Id="rId5" Type="http://schemas.openxmlformats.org/officeDocument/2006/relationships/image" Target="../media/image11.png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3.sv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0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3.svg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0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7.jp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4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4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4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45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4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47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48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49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0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1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3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svg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7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5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6.bin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tags" Target="../tags/tag69.xml"/><Relationship Id="rId18" Type="http://schemas.openxmlformats.org/officeDocument/2006/relationships/tags" Target="../tags/tag74.xml"/><Relationship Id="rId3" Type="http://schemas.openxmlformats.org/officeDocument/2006/relationships/tags" Target="../tags/tag59.xml"/><Relationship Id="rId21" Type="http://schemas.openxmlformats.org/officeDocument/2006/relationships/image" Target="../media/image9.emf"/><Relationship Id="rId7" Type="http://schemas.openxmlformats.org/officeDocument/2006/relationships/tags" Target="../tags/tag63.xml"/><Relationship Id="rId12" Type="http://schemas.openxmlformats.org/officeDocument/2006/relationships/tags" Target="../tags/tag68.xml"/><Relationship Id="rId17" Type="http://schemas.openxmlformats.org/officeDocument/2006/relationships/tags" Target="../tags/tag73.xml"/><Relationship Id="rId2" Type="http://schemas.openxmlformats.org/officeDocument/2006/relationships/tags" Target="../tags/tag58.xml"/><Relationship Id="rId16" Type="http://schemas.openxmlformats.org/officeDocument/2006/relationships/tags" Target="../tags/tag72.xml"/><Relationship Id="rId20" Type="http://schemas.openxmlformats.org/officeDocument/2006/relationships/oleObject" Target="../embeddings/oleObject57.bin"/><Relationship Id="rId1" Type="http://schemas.openxmlformats.org/officeDocument/2006/relationships/vmlDrawing" Target="../drawings/vmlDrawing57.vml"/><Relationship Id="rId6" Type="http://schemas.openxmlformats.org/officeDocument/2006/relationships/tags" Target="../tags/tag62.xml"/><Relationship Id="rId11" Type="http://schemas.openxmlformats.org/officeDocument/2006/relationships/tags" Target="../tags/tag67.xml"/><Relationship Id="rId5" Type="http://schemas.openxmlformats.org/officeDocument/2006/relationships/tags" Target="../tags/tag61.xml"/><Relationship Id="rId15" Type="http://schemas.openxmlformats.org/officeDocument/2006/relationships/tags" Target="../tags/tag71.xml"/><Relationship Id="rId10" Type="http://schemas.openxmlformats.org/officeDocument/2006/relationships/tags" Target="../tags/tag66.xml"/><Relationship Id="rId19" Type="http://schemas.openxmlformats.org/officeDocument/2006/relationships/slideMaster" Target="../slideMasters/slideMaster2.xml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tags" Target="../tags/tag70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3.svg"/><Relationship Id="rId2" Type="http://schemas.openxmlformats.org/officeDocument/2006/relationships/tags" Target="../tags/tag76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9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3.svg"/><Relationship Id="rId2" Type="http://schemas.openxmlformats.org/officeDocument/2006/relationships/tags" Target="../tags/tag77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0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sv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3.svg"/><Relationship Id="rId2" Type="http://schemas.openxmlformats.org/officeDocument/2006/relationships/tags" Target="../tags/tag78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9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1.bin"/><Relationship Id="rId9" Type="http://schemas.openxmlformats.org/officeDocument/2006/relationships/image" Target="../media/image13.svg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0.png"/><Relationship Id="rId2" Type="http://schemas.openxmlformats.org/officeDocument/2006/relationships/tags" Target="../tags/tag79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2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2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3.svg"/><Relationship Id="rId2" Type="http://schemas.openxmlformats.org/officeDocument/2006/relationships/tags" Target="../tags/tag80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2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3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svg"/><Relationship Id="rId2" Type="http://schemas.openxmlformats.org/officeDocument/2006/relationships/tags" Target="../tags/tag81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22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64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3.svg"/><Relationship Id="rId2" Type="http://schemas.openxmlformats.org/officeDocument/2006/relationships/tags" Target="../tags/tag82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24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65.bin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0.png"/><Relationship Id="rId2" Type="http://schemas.openxmlformats.org/officeDocument/2006/relationships/tags" Target="../tags/tag83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25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6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3.svg"/><Relationship Id="rId2" Type="http://schemas.openxmlformats.org/officeDocument/2006/relationships/tags" Target="../tags/tag84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7.bin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7.png"/><Relationship Id="rId2" Type="http://schemas.openxmlformats.org/officeDocument/2006/relationships/tags" Target="../tags/tag85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2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8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Cierre_cas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sociación Chilena de Seguridad…">
            <a:extLst>
              <a:ext uri="{FF2B5EF4-FFF2-40B4-BE49-F238E27FC236}">
                <a16:creationId xmlns="" xmlns:a16="http://schemas.microsoft.com/office/drawing/2014/main" id="{0117B4FB-B755-3EBA-4157-827FB8108C54}"/>
              </a:ext>
            </a:extLst>
          </p:cNvPr>
          <p:cNvSpPr txBox="1"/>
          <p:nvPr userDrawn="1"/>
        </p:nvSpPr>
        <p:spPr>
          <a:xfrm>
            <a:off x="4506686" y="3884955"/>
            <a:ext cx="3178629" cy="4206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 defTabSz="914400" hangingPunct="1">
              <a:lnSpc>
                <a:spcPct val="100000"/>
              </a:lnSpc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CL" kern="1200" dirty="0">
                <a:solidFill>
                  <a:prstClr val="white"/>
                </a:solidFill>
                <a:ea typeface="Arial"/>
                <a:cs typeface="Arial" panose="020B0604020202020204" pitchFamily="34" charset="0"/>
                <a:sym typeface="Arial"/>
              </a:rPr>
              <a:t>Vive</a:t>
            </a:r>
            <a:r>
              <a:rPr lang="en-US" kern="1200" dirty="0">
                <a:solidFill>
                  <a:prstClr val="white"/>
                </a:solidFill>
                <a:ea typeface="Arial"/>
                <a:cs typeface="Arial" panose="020B0604020202020204" pitchFamily="34" charset="0"/>
                <a:sym typeface="Arial"/>
              </a:rPr>
              <a:t> </a:t>
            </a:r>
            <a:r>
              <a:rPr lang="es-CL" kern="1200" dirty="0">
                <a:solidFill>
                  <a:prstClr val="white"/>
                </a:solidFill>
                <a:ea typeface="Arial"/>
                <a:cs typeface="Arial" panose="020B0604020202020204" pitchFamily="34" charset="0"/>
                <a:sym typeface="Arial"/>
              </a:rPr>
              <a:t>el</a:t>
            </a:r>
            <a:r>
              <a:rPr lang="en-US" kern="1200" dirty="0">
                <a:solidFill>
                  <a:prstClr val="white"/>
                </a:solidFill>
                <a:ea typeface="Arial"/>
                <a:cs typeface="Arial" panose="020B0604020202020204" pitchFamily="34" charset="0"/>
                <a:sym typeface="Arial"/>
              </a:rPr>
              <a:t> </a:t>
            </a:r>
            <a:r>
              <a:rPr lang="es-CL" kern="1200" dirty="0">
                <a:solidFill>
                  <a:prstClr val="white"/>
                </a:solidFill>
                <a:ea typeface="Arial"/>
                <a:cs typeface="Arial" panose="020B0604020202020204" pitchFamily="34" charset="0"/>
                <a:sym typeface="Arial"/>
              </a:rPr>
              <a:t>cuidado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="" xmlns:a16="http://schemas.microsoft.com/office/drawing/2014/main" id="{0875361A-E1FF-6157-D725-8A6791B912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2032" y="2550695"/>
            <a:ext cx="2367936" cy="1106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454289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 blanca comple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=""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=""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ítulo 2">
            <a:extLst>
              <a:ext uri="{FF2B5EF4-FFF2-40B4-BE49-F238E27FC236}">
                <a16:creationId xmlns="" xmlns:a16="http://schemas.microsoft.com/office/drawing/2014/main" id="{80F49EB7-6646-294D-B55D-2104414C84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sp>
        <p:nvSpPr>
          <p:cNvPr id="10" name="Título 9">
            <a:extLst>
              <a:ext uri="{FF2B5EF4-FFF2-40B4-BE49-F238E27FC236}">
                <a16:creationId xmlns=""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="" xmlns:a16="http://schemas.microsoft.com/office/drawing/2014/main" id="{9AD7EFE8-F025-92AE-299B-FD35C5C79F2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</p:cxnSp>
      <p:sp>
        <p:nvSpPr>
          <p:cNvPr id="13" name="Marcador de texto 3">
            <a:extLst>
              <a:ext uri="{FF2B5EF4-FFF2-40B4-BE49-F238E27FC236}">
                <a16:creationId xmlns="" xmlns:a16="http://schemas.microsoft.com/office/drawing/2014/main" id="{E0B57D74-FDA4-3B80-E9DF-B3B0E2003B6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5770" y="1557338"/>
            <a:ext cx="11338243" cy="4608512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L" dirty="0"/>
          </a:p>
        </p:txBody>
      </p:sp>
      <p:sp>
        <p:nvSpPr>
          <p:cNvPr id="2" name="Marcador de pie de página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78452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 blanca - título y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=""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=""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ítulo 2">
            <a:extLst>
              <a:ext uri="{FF2B5EF4-FFF2-40B4-BE49-F238E27FC236}">
                <a16:creationId xmlns="" xmlns:a16="http://schemas.microsoft.com/office/drawing/2014/main" id="{80F49EB7-6646-294D-B55D-2104414C84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sp>
        <p:nvSpPr>
          <p:cNvPr id="10" name="Título 9">
            <a:extLst>
              <a:ext uri="{FF2B5EF4-FFF2-40B4-BE49-F238E27FC236}">
                <a16:creationId xmlns=""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="" xmlns:a16="http://schemas.microsoft.com/office/drawing/2014/main" id="{9AD7EFE8-F025-92AE-299B-FD35C5C79F2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</p:cxnSp>
      <p:sp>
        <p:nvSpPr>
          <p:cNvPr id="2" name="Marcador de pie de página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20315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 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=""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=""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ítulo 9">
            <a:extLst>
              <a:ext uri="{FF2B5EF4-FFF2-40B4-BE49-F238E27FC236}">
                <a16:creationId xmlns=""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="" xmlns:a16="http://schemas.microsoft.com/office/drawing/2014/main" id="{9AD7EFE8-F025-92AE-299B-FD35C5C79F2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</p:cxnSp>
      <p:sp>
        <p:nvSpPr>
          <p:cNvPr id="2" name="Marcador de pie de página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70862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 gris comple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=""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=""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ítulo 2">
            <a:extLst>
              <a:ext uri="{FF2B5EF4-FFF2-40B4-BE49-F238E27FC236}">
                <a16:creationId xmlns="" xmlns:a16="http://schemas.microsoft.com/office/drawing/2014/main" id="{80F49EB7-6646-294D-B55D-2104414C84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sp>
        <p:nvSpPr>
          <p:cNvPr id="10" name="Título 9">
            <a:extLst>
              <a:ext uri="{FF2B5EF4-FFF2-40B4-BE49-F238E27FC236}">
                <a16:creationId xmlns=""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="" xmlns:a16="http://schemas.microsoft.com/office/drawing/2014/main" id="{9AD7EFE8-F025-92AE-299B-FD35C5C79F2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</p:cxnSp>
      <p:sp>
        <p:nvSpPr>
          <p:cNvPr id="13" name="Marcador de texto 3">
            <a:extLst>
              <a:ext uri="{FF2B5EF4-FFF2-40B4-BE49-F238E27FC236}">
                <a16:creationId xmlns="" xmlns:a16="http://schemas.microsoft.com/office/drawing/2014/main" id="{E0B57D74-FDA4-3B80-E9DF-B3B0E2003B6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5770" y="1557338"/>
            <a:ext cx="11338243" cy="4608512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L" dirty="0"/>
          </a:p>
        </p:txBody>
      </p:sp>
      <p:sp>
        <p:nvSpPr>
          <p:cNvPr id="2" name="Marcador de pie de página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17290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 gris - Título y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=""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=""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ítulo 2">
            <a:extLst>
              <a:ext uri="{FF2B5EF4-FFF2-40B4-BE49-F238E27FC236}">
                <a16:creationId xmlns="" xmlns:a16="http://schemas.microsoft.com/office/drawing/2014/main" id="{80F49EB7-6646-294D-B55D-2104414C84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sp>
        <p:nvSpPr>
          <p:cNvPr id="10" name="Título 9">
            <a:extLst>
              <a:ext uri="{FF2B5EF4-FFF2-40B4-BE49-F238E27FC236}">
                <a16:creationId xmlns=""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="" xmlns:a16="http://schemas.microsoft.com/office/drawing/2014/main" id="{9AD7EFE8-F025-92AE-299B-FD35C5C79F2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</p:cxnSp>
      <p:sp>
        <p:nvSpPr>
          <p:cNvPr id="2" name="Marcador de pie de página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626524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 gr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=""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=""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ítulo 9">
            <a:extLst>
              <a:ext uri="{FF2B5EF4-FFF2-40B4-BE49-F238E27FC236}">
                <a16:creationId xmlns=""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="" xmlns:a16="http://schemas.microsoft.com/office/drawing/2014/main" id="{9AD7EFE8-F025-92AE-299B-FD35C5C79F2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</p:cxnSp>
      <p:sp>
        <p:nvSpPr>
          <p:cNvPr id="2" name="Marcador de pie de página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52983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 verde - comple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2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Conector recto 18">
            <a:extLst>
              <a:ext uri="{FF2B5EF4-FFF2-40B4-BE49-F238E27FC236}">
                <a16:creationId xmlns="" xmlns:a16="http://schemas.microsoft.com/office/drawing/2014/main" id="{85F9AF68-8345-6B33-319E-57FB32203EE1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Subtítulo 2">
            <a:extLst>
              <a:ext uri="{FF2B5EF4-FFF2-40B4-BE49-F238E27FC236}">
                <a16:creationId xmlns="" xmlns:a16="http://schemas.microsoft.com/office/drawing/2014/main" id="{1BB65AC0-90D3-620A-99B0-9A743324E2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sp>
        <p:nvSpPr>
          <p:cNvPr id="7" name="Título 9">
            <a:extLst>
              <a:ext uri="{FF2B5EF4-FFF2-40B4-BE49-F238E27FC236}">
                <a16:creationId xmlns="" xmlns:a16="http://schemas.microsoft.com/office/drawing/2014/main" id="{9FD4B0E4-F4A4-1398-9C24-8A4896DE8D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61" y="496570"/>
            <a:ext cx="9792000" cy="608400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r>
              <a:rPr lang="es-ES" dirty="0"/>
              <a:t/>
            </a:r>
            <a:br>
              <a:rPr lang="es-ES" dirty="0"/>
            </a:br>
            <a:endParaRPr lang="es-CL" dirty="0"/>
          </a:p>
        </p:txBody>
      </p:sp>
      <p:sp>
        <p:nvSpPr>
          <p:cNvPr id="2" name="Marcador de pie de página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s-CL" dirty="0">
              <a:solidFill>
                <a:prstClr val="white"/>
              </a:solidFill>
            </a:endParaRPr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B90B3AC-360D-4C0F-BB2D-EFC963FB8AB1}" type="slidenum">
              <a:rPr lang="es-CL" smtClean="0">
                <a:solidFill>
                  <a:prstClr val="white"/>
                </a:solidFill>
              </a:rPr>
              <a:pPr/>
              <a:t>‹Nº›</a:t>
            </a:fld>
            <a:endParaRPr lang="es-CL" dirty="0">
              <a:solidFill>
                <a:prstClr val="white"/>
              </a:solidFill>
            </a:endParaRPr>
          </a:p>
        </p:txBody>
      </p:sp>
      <p:sp>
        <p:nvSpPr>
          <p:cNvPr id="30" name="Marcador de texto 3">
            <a:extLst>
              <a:ext uri="{FF2B5EF4-FFF2-40B4-BE49-F238E27FC236}">
                <a16:creationId xmlns="" xmlns:a16="http://schemas.microsoft.com/office/drawing/2014/main" id="{E0B57D74-FDA4-3B80-E9DF-B3B0E2003B6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5770" y="1557338"/>
            <a:ext cx="11338243" cy="46085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L" dirty="0"/>
          </a:p>
        </p:txBody>
      </p:sp>
      <p:pic>
        <p:nvPicPr>
          <p:cNvPr id="31" name="Gráfico 1">
            <a:extLst>
              <a:ext uri="{FF2B5EF4-FFF2-40B4-BE49-F238E27FC236}">
                <a16:creationId xmlns="" xmlns:a16="http://schemas.microsoft.com/office/drawing/2014/main" id="{8439E0E9-8B07-843D-A908-1FA718640EB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558557" y="367978"/>
            <a:ext cx="1225552" cy="507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418390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 verde - Título y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Conector recto 18">
            <a:extLst>
              <a:ext uri="{FF2B5EF4-FFF2-40B4-BE49-F238E27FC236}">
                <a16:creationId xmlns="" xmlns:a16="http://schemas.microsoft.com/office/drawing/2014/main" id="{85F9AF68-8345-6B33-319E-57FB32203EE1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" name="Subtítulo 2">
            <a:extLst>
              <a:ext uri="{FF2B5EF4-FFF2-40B4-BE49-F238E27FC236}">
                <a16:creationId xmlns="" xmlns:a16="http://schemas.microsoft.com/office/drawing/2014/main" id="{1BB65AC0-90D3-620A-99B0-9A743324E2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sp>
        <p:nvSpPr>
          <p:cNvPr id="7" name="Título 9">
            <a:extLst>
              <a:ext uri="{FF2B5EF4-FFF2-40B4-BE49-F238E27FC236}">
                <a16:creationId xmlns="" xmlns:a16="http://schemas.microsoft.com/office/drawing/2014/main" id="{9FD4B0E4-F4A4-1398-9C24-8A4896DE8D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61" y="496570"/>
            <a:ext cx="9792000" cy="608400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r>
              <a:rPr lang="es-ES" dirty="0"/>
              <a:t/>
            </a:r>
            <a:br>
              <a:rPr lang="es-ES" dirty="0"/>
            </a:br>
            <a:endParaRPr lang="es-CL" dirty="0"/>
          </a:p>
        </p:txBody>
      </p:sp>
      <p:sp>
        <p:nvSpPr>
          <p:cNvPr id="2" name="Marcador de pie de página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s-CL" dirty="0">
              <a:solidFill>
                <a:prstClr val="white"/>
              </a:solidFill>
            </a:endParaRPr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B90B3AC-360D-4C0F-BB2D-EFC963FB8AB1}" type="slidenum">
              <a:rPr lang="es-CL" smtClean="0">
                <a:solidFill>
                  <a:prstClr val="white"/>
                </a:solidFill>
              </a:rPr>
              <a:pPr/>
              <a:t>‹Nº›</a:t>
            </a:fld>
            <a:endParaRPr lang="es-CL" dirty="0">
              <a:solidFill>
                <a:prstClr val="white"/>
              </a:solidFill>
            </a:endParaRPr>
          </a:p>
        </p:txBody>
      </p:sp>
      <p:pic>
        <p:nvPicPr>
          <p:cNvPr id="30" name="Gráfico 1">
            <a:extLst>
              <a:ext uri="{FF2B5EF4-FFF2-40B4-BE49-F238E27FC236}">
                <a16:creationId xmlns="" xmlns:a16="http://schemas.microsoft.com/office/drawing/2014/main" id="{8439E0E9-8B07-843D-A908-1FA718640EB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558557" y="367978"/>
            <a:ext cx="1225552" cy="507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7707940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0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Conector recto 18">
            <a:extLst>
              <a:ext uri="{FF2B5EF4-FFF2-40B4-BE49-F238E27FC236}">
                <a16:creationId xmlns="" xmlns:a16="http://schemas.microsoft.com/office/drawing/2014/main" id="{85F9AF68-8345-6B33-319E-57FB32203EE1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" name="Título 9">
            <a:extLst>
              <a:ext uri="{FF2B5EF4-FFF2-40B4-BE49-F238E27FC236}">
                <a16:creationId xmlns="" xmlns:a16="http://schemas.microsoft.com/office/drawing/2014/main" id="{9FD4B0E4-F4A4-1398-9C24-8A4896DE8D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61" y="496570"/>
            <a:ext cx="9792000" cy="608400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r>
              <a:rPr lang="es-ES" dirty="0"/>
              <a:t/>
            </a:r>
            <a:br>
              <a:rPr lang="es-ES" dirty="0"/>
            </a:br>
            <a:endParaRPr lang="es-CL" dirty="0"/>
          </a:p>
        </p:txBody>
      </p:sp>
      <p:sp>
        <p:nvSpPr>
          <p:cNvPr id="2" name="Marcador de pie de página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s-CL" dirty="0">
              <a:solidFill>
                <a:prstClr val="white"/>
              </a:solidFill>
            </a:endParaRPr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B90B3AC-360D-4C0F-BB2D-EFC963FB8AB1}" type="slidenum">
              <a:rPr lang="es-CL" smtClean="0">
                <a:solidFill>
                  <a:prstClr val="white"/>
                </a:solidFill>
              </a:rPr>
              <a:pPr/>
              <a:t>‹Nº›</a:t>
            </a:fld>
            <a:endParaRPr lang="es-CL" dirty="0">
              <a:solidFill>
                <a:prstClr val="white"/>
              </a:solidFill>
            </a:endParaRPr>
          </a:p>
        </p:txBody>
      </p:sp>
      <p:pic>
        <p:nvPicPr>
          <p:cNvPr id="31" name="Gráfico 1">
            <a:extLst>
              <a:ext uri="{FF2B5EF4-FFF2-40B4-BE49-F238E27FC236}">
                <a16:creationId xmlns="" xmlns:a16="http://schemas.microsoft.com/office/drawing/2014/main" id="{8439E0E9-8B07-843D-A908-1FA718640EB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558557" y="367978"/>
            <a:ext cx="1225552" cy="507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998284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ítulo, subtítulo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=""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4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=""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F6D0C49E-3AAB-6355-628D-23D62EB5D73A}"/>
              </a:ext>
            </a:extLst>
          </p:cNvPr>
          <p:cNvSpPr/>
          <p:nvPr userDrawn="1"/>
        </p:nvSpPr>
        <p:spPr>
          <a:xfrm flipH="1">
            <a:off x="0" y="0"/>
            <a:ext cx="8815200" cy="685800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171450" indent="-171450" algn="ctr" defTabSz="82550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endParaRPr lang="en-US" sz="1000" dirty="0">
              <a:solidFill>
                <a:prstClr val="white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Subtítulo 2">
            <a:extLst>
              <a:ext uri="{FF2B5EF4-FFF2-40B4-BE49-F238E27FC236}">
                <a16:creationId xmlns="" xmlns:a16="http://schemas.microsoft.com/office/drawing/2014/main" id="{80F49EB7-6646-294D-B55D-2104414C84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sp>
        <p:nvSpPr>
          <p:cNvPr id="10" name="Título 9">
            <a:extLst>
              <a:ext uri="{FF2B5EF4-FFF2-40B4-BE49-F238E27FC236}">
                <a16:creationId xmlns=""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="" xmlns:a16="http://schemas.microsoft.com/office/drawing/2014/main" id="{9AD7EFE8-F025-92AE-299B-FD35C5C79F2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</p:cxnSp>
      <p:sp>
        <p:nvSpPr>
          <p:cNvPr id="13" name="Marcador de texto 3">
            <a:extLst>
              <a:ext uri="{FF2B5EF4-FFF2-40B4-BE49-F238E27FC236}">
                <a16:creationId xmlns="" xmlns:a16="http://schemas.microsoft.com/office/drawing/2014/main" id="{E0B57D74-FDA4-3B80-E9DF-B3B0E2003B6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5770" y="1557338"/>
            <a:ext cx="11338243" cy="4608512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52605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verde 5 punto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Conector recto 18">
            <a:extLst>
              <a:ext uri="{FF2B5EF4-FFF2-40B4-BE49-F238E27FC236}">
                <a16:creationId xmlns="" xmlns:a16="http://schemas.microsoft.com/office/drawing/2014/main" id="{85F9AF68-8345-6B33-319E-57FB32203EE1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35" name="Picture 2">
            <a:extLst>
              <a:ext uri="{FF2B5EF4-FFF2-40B4-BE49-F238E27FC236}">
                <a16:creationId xmlns="" xmlns:a16="http://schemas.microsoft.com/office/drawing/2014/main" id="{3FD28DAD-337D-CBAA-D8CD-D04E50C9B6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204" t="33265"/>
          <a:stretch/>
        </p:blipFill>
        <p:spPr>
          <a:xfrm>
            <a:off x="0" y="-1"/>
            <a:ext cx="5439188" cy="4576669"/>
          </a:xfrm>
          <a:prstGeom prst="rect">
            <a:avLst/>
          </a:prstGeom>
        </p:spPr>
      </p:pic>
      <p:sp>
        <p:nvSpPr>
          <p:cNvPr id="36" name="Título 1">
            <a:extLst>
              <a:ext uri="{FF2B5EF4-FFF2-40B4-BE49-F238E27FC236}">
                <a16:creationId xmlns="" xmlns:a16="http://schemas.microsoft.com/office/drawing/2014/main" id="{480F94C3-E251-0A4D-B7E8-0D448B426F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6" y="592636"/>
            <a:ext cx="3138296" cy="1162442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Texto</a:t>
            </a:r>
            <a:endParaRPr lang="es-CL" dirty="0"/>
          </a:p>
        </p:txBody>
      </p:sp>
      <p:sp>
        <p:nvSpPr>
          <p:cNvPr id="37" name="Marcador de texto 4">
            <a:extLst>
              <a:ext uri="{FF2B5EF4-FFF2-40B4-BE49-F238E27FC236}">
                <a16:creationId xmlns="" xmlns:a16="http://schemas.microsoft.com/office/drawing/2014/main" id="{10E1D212-0562-6DF1-E1DA-9955FC695D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55556" y="592635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8" name="Marcador de texto 4">
            <a:extLst>
              <a:ext uri="{FF2B5EF4-FFF2-40B4-BE49-F238E27FC236}">
                <a16:creationId xmlns="" xmlns:a16="http://schemas.microsoft.com/office/drawing/2014/main" id="{76E29E71-6799-27B0-061A-872A06088065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555556" y="1755077"/>
            <a:ext cx="1199956" cy="8792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9" name="Marcador de texto 4">
            <a:extLst>
              <a:ext uri="{FF2B5EF4-FFF2-40B4-BE49-F238E27FC236}">
                <a16:creationId xmlns="" xmlns:a16="http://schemas.microsoft.com/office/drawing/2014/main" id="{AE6DBC10-9368-CE05-8338-726B25AE038C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555556" y="2972075"/>
            <a:ext cx="1199956" cy="8792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40" name="Marcador de texto 4">
            <a:extLst>
              <a:ext uri="{FF2B5EF4-FFF2-40B4-BE49-F238E27FC236}">
                <a16:creationId xmlns="" xmlns:a16="http://schemas.microsoft.com/office/drawing/2014/main" id="{B2FDEEFD-7DEE-2BAD-A2B9-91A02403803B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555556" y="4174436"/>
            <a:ext cx="1199956" cy="8792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41" name="Marcador de texto 4">
            <a:extLst>
              <a:ext uri="{FF2B5EF4-FFF2-40B4-BE49-F238E27FC236}">
                <a16:creationId xmlns="" xmlns:a16="http://schemas.microsoft.com/office/drawing/2014/main" id="{BEE802A2-00A8-D033-BA50-92F4DA811BC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555556" y="5418742"/>
            <a:ext cx="1199956" cy="8792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42" name="Marcador de texto 7">
            <a:extLst>
              <a:ext uri="{FF2B5EF4-FFF2-40B4-BE49-F238E27FC236}">
                <a16:creationId xmlns="" xmlns:a16="http://schemas.microsoft.com/office/drawing/2014/main" id="{E2B3526A-E352-6B42-9A86-8AA9AFCEC9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89780" y="3401189"/>
            <a:ext cx="4545093" cy="4469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  <p:sp>
        <p:nvSpPr>
          <p:cNvPr id="43" name="Marcador de texto 7">
            <a:extLst>
              <a:ext uri="{FF2B5EF4-FFF2-40B4-BE49-F238E27FC236}">
                <a16:creationId xmlns="" xmlns:a16="http://schemas.microsoft.com/office/drawing/2014/main" id="{1B703A3D-4A7A-A34D-8B38-7D59E6C8C6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9780" y="4611153"/>
            <a:ext cx="4545093" cy="4469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  <p:sp>
        <p:nvSpPr>
          <p:cNvPr id="44" name="Marcador de texto 7">
            <a:extLst>
              <a:ext uri="{FF2B5EF4-FFF2-40B4-BE49-F238E27FC236}">
                <a16:creationId xmlns="" xmlns:a16="http://schemas.microsoft.com/office/drawing/2014/main" id="{8D533A59-3325-A644-A68A-14B901EDBB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89780" y="5844932"/>
            <a:ext cx="4545093" cy="4548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  <p:sp>
        <p:nvSpPr>
          <p:cNvPr id="45" name="Marcador de texto 7">
            <a:extLst>
              <a:ext uri="{FF2B5EF4-FFF2-40B4-BE49-F238E27FC236}">
                <a16:creationId xmlns="" xmlns:a16="http://schemas.microsoft.com/office/drawing/2014/main" id="{9A1A12C9-C268-CA49-8691-5A3A9581BC7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89780" y="2191654"/>
            <a:ext cx="4545093" cy="4469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="" xmlns:a16="http://schemas.microsoft.com/office/drawing/2014/main" id="{C3195266-81DB-5332-821A-DE9FE43D11F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89780" y="1032490"/>
            <a:ext cx="4545093" cy="4469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  <p:pic>
        <p:nvPicPr>
          <p:cNvPr id="47" name="Gráfico 1">
            <a:extLst>
              <a:ext uri="{FF2B5EF4-FFF2-40B4-BE49-F238E27FC236}">
                <a16:creationId xmlns="" xmlns:a16="http://schemas.microsoft.com/office/drawing/2014/main" id="{8439E0E9-8B07-843D-A908-1FA718640EB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558557" y="367978"/>
            <a:ext cx="1225552" cy="507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018848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ase divid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=""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8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=""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F6D0C49E-3AAB-6355-628D-23D62EB5D73A}"/>
              </a:ext>
            </a:extLst>
          </p:cNvPr>
          <p:cNvSpPr/>
          <p:nvPr userDrawn="1"/>
        </p:nvSpPr>
        <p:spPr>
          <a:xfrm flipH="1">
            <a:off x="0" y="0"/>
            <a:ext cx="8815200" cy="685800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171450" indent="-171450" algn="ctr" defTabSz="82550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endParaRPr lang="en-US" sz="1000" dirty="0">
              <a:solidFill>
                <a:prstClr val="white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Subtítulo 2">
            <a:extLst>
              <a:ext uri="{FF2B5EF4-FFF2-40B4-BE49-F238E27FC236}">
                <a16:creationId xmlns="" xmlns:a16="http://schemas.microsoft.com/office/drawing/2014/main" id="{80F49EB7-6646-294D-B55D-2104414C84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sp>
        <p:nvSpPr>
          <p:cNvPr id="10" name="Título 9">
            <a:extLst>
              <a:ext uri="{FF2B5EF4-FFF2-40B4-BE49-F238E27FC236}">
                <a16:creationId xmlns=""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="" xmlns:a16="http://schemas.microsoft.com/office/drawing/2014/main" id="{9AD7EFE8-F025-92AE-299B-FD35C5C79F2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</p:cxnSp>
      <p:sp>
        <p:nvSpPr>
          <p:cNvPr id="4" name="Marcador de pie de página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178803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ítulo, subtítulo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=""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2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=""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F6D0C49E-3AAB-6355-628D-23D62EB5D73A}"/>
              </a:ext>
            </a:extLst>
          </p:cNvPr>
          <p:cNvSpPr/>
          <p:nvPr userDrawn="1"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171450" indent="-171450" algn="ctr" defTabSz="82550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endParaRPr lang="en-US" sz="1000" dirty="0">
              <a:solidFill>
                <a:prstClr val="white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Subtítulo 2">
            <a:extLst>
              <a:ext uri="{FF2B5EF4-FFF2-40B4-BE49-F238E27FC236}">
                <a16:creationId xmlns="" xmlns:a16="http://schemas.microsoft.com/office/drawing/2014/main" id="{80F49EB7-6646-294D-B55D-2104414C84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8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sp>
        <p:nvSpPr>
          <p:cNvPr id="10" name="Título 9">
            <a:extLst>
              <a:ext uri="{FF2B5EF4-FFF2-40B4-BE49-F238E27FC236}">
                <a16:creationId xmlns=""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="" xmlns:a16="http://schemas.microsoft.com/office/drawing/2014/main" id="{9AD7EFE8-F025-92AE-299B-FD35C5C79F2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</p:cxnSp>
      <p:sp>
        <p:nvSpPr>
          <p:cNvPr id="13" name="Marcador de texto 3">
            <a:extLst>
              <a:ext uri="{FF2B5EF4-FFF2-40B4-BE49-F238E27FC236}">
                <a16:creationId xmlns="" xmlns:a16="http://schemas.microsoft.com/office/drawing/2014/main" id="{E0B57D74-FDA4-3B80-E9DF-B3B0E2003B6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5770" y="1557338"/>
            <a:ext cx="11338243" cy="4608512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42756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ase divid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=""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6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=""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F6D0C49E-3AAB-6355-628D-23D62EB5D73A}"/>
              </a:ext>
            </a:extLst>
          </p:cNvPr>
          <p:cNvSpPr/>
          <p:nvPr userDrawn="1"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171450" indent="-171450" algn="ctr" defTabSz="82550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endParaRPr lang="en-US" sz="1000" dirty="0">
              <a:solidFill>
                <a:prstClr val="white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Subtítulo 2">
            <a:extLst>
              <a:ext uri="{FF2B5EF4-FFF2-40B4-BE49-F238E27FC236}">
                <a16:creationId xmlns="" xmlns:a16="http://schemas.microsoft.com/office/drawing/2014/main" id="{80F49EB7-6646-294D-B55D-2104414C84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8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sp>
        <p:nvSpPr>
          <p:cNvPr id="10" name="Título 9">
            <a:extLst>
              <a:ext uri="{FF2B5EF4-FFF2-40B4-BE49-F238E27FC236}">
                <a16:creationId xmlns=""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="" xmlns:a16="http://schemas.microsoft.com/office/drawing/2014/main" id="{9AD7EFE8-F025-92AE-299B-FD35C5C79F2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</p:cxnSp>
      <p:sp>
        <p:nvSpPr>
          <p:cNvPr id="4" name="Marcador de pie de página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5287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3 categorías y descrip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0B42D332-2844-E942-96BC-37A626E303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0B42D332-2844-E942-96BC-37A626E303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74F55793-A0F5-0E78-02E7-EF2CF719E974}"/>
              </a:ext>
            </a:extLst>
          </p:cNvPr>
          <p:cNvSpPr/>
          <p:nvPr userDrawn="1"/>
        </p:nvSpPr>
        <p:spPr>
          <a:xfrm>
            <a:off x="8825392" y="0"/>
            <a:ext cx="3370791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endParaRPr lang="es-CL" sz="1400" dirty="0">
              <a:solidFill>
                <a:prstClr val="white"/>
              </a:solidFill>
            </a:endParaRPr>
          </a:p>
        </p:txBody>
      </p:sp>
      <p:sp>
        <p:nvSpPr>
          <p:cNvPr id="61" name="Marcador de texto 7">
            <a:extLst>
              <a:ext uri="{FF2B5EF4-FFF2-40B4-BE49-F238E27FC236}">
                <a16:creationId xmlns="" xmlns:a16="http://schemas.microsoft.com/office/drawing/2014/main" id="{60D2818D-89F2-5146-96F4-FE5CC94A3B64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49262" y="1905774"/>
            <a:ext cx="753896" cy="56615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114" name="Marcador de texto 7">
            <a:extLst>
              <a:ext uri="{FF2B5EF4-FFF2-40B4-BE49-F238E27FC236}">
                <a16:creationId xmlns="" xmlns:a16="http://schemas.microsoft.com/office/drawing/2014/main" id="{130CF308-4F12-CF40-8431-48ED26F5E46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23942" y="2161664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6</a:t>
            </a:r>
            <a:endParaRPr lang="es-CL" dirty="0"/>
          </a:p>
        </p:txBody>
      </p:sp>
      <p:sp>
        <p:nvSpPr>
          <p:cNvPr id="53" name="Marcador de texto 7">
            <a:extLst>
              <a:ext uri="{FF2B5EF4-FFF2-40B4-BE49-F238E27FC236}">
                <a16:creationId xmlns="" xmlns:a16="http://schemas.microsoft.com/office/drawing/2014/main" id="{9381C1C0-80DF-6749-9C03-56994A4072C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389754" y="2169127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54" name="Marcador de texto 7">
            <a:extLst>
              <a:ext uri="{FF2B5EF4-FFF2-40B4-BE49-F238E27FC236}">
                <a16:creationId xmlns="" xmlns:a16="http://schemas.microsoft.com/office/drawing/2014/main" id="{89620A1F-682C-3E4E-85BD-1A4E04D84C0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389752" y="1733847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4</a:t>
            </a:r>
            <a:endParaRPr lang="es-CL" dirty="0"/>
          </a:p>
        </p:txBody>
      </p:sp>
      <p:sp>
        <p:nvSpPr>
          <p:cNvPr id="73" name="Marcador de texto 7">
            <a:extLst>
              <a:ext uri="{FF2B5EF4-FFF2-40B4-BE49-F238E27FC236}">
                <a16:creationId xmlns="" xmlns:a16="http://schemas.microsoft.com/office/drawing/2014/main" id="{7BB34F7A-9153-7E41-8706-B75E12C61FA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389754" y="3740751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74" name="Marcador de texto 7">
            <a:extLst>
              <a:ext uri="{FF2B5EF4-FFF2-40B4-BE49-F238E27FC236}">
                <a16:creationId xmlns="" xmlns:a16="http://schemas.microsoft.com/office/drawing/2014/main" id="{D350E885-470E-4544-9B96-6265ACDD38B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389752" y="3305472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4</a:t>
            </a:r>
            <a:endParaRPr lang="es-CL" dirty="0"/>
          </a:p>
        </p:txBody>
      </p:sp>
      <p:sp>
        <p:nvSpPr>
          <p:cNvPr id="82" name="Marcador de texto 7">
            <a:extLst>
              <a:ext uri="{FF2B5EF4-FFF2-40B4-BE49-F238E27FC236}">
                <a16:creationId xmlns="" xmlns:a16="http://schemas.microsoft.com/office/drawing/2014/main" id="{B22EF754-D625-F14C-8B51-B265491331F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389754" y="5313411"/>
            <a:ext cx="5701824" cy="7367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83" name="Marcador de texto 7">
            <a:extLst>
              <a:ext uri="{FF2B5EF4-FFF2-40B4-BE49-F238E27FC236}">
                <a16:creationId xmlns="" xmlns:a16="http://schemas.microsoft.com/office/drawing/2014/main" id="{977B32BB-9DE9-AE4E-B3F6-BC2F0A206886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389752" y="4878132"/>
            <a:ext cx="4087247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4</a:t>
            </a:r>
            <a:endParaRPr lang="es-CL" dirty="0"/>
          </a:p>
        </p:txBody>
      </p:sp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B8030460-AF27-ED61-6BCA-022178D8FF3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49262" y="3493942"/>
            <a:ext cx="753896" cy="5698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14" name="Marcador de texto 7">
            <a:extLst>
              <a:ext uri="{FF2B5EF4-FFF2-40B4-BE49-F238E27FC236}">
                <a16:creationId xmlns="" xmlns:a16="http://schemas.microsoft.com/office/drawing/2014/main" id="{4F09BDE9-1F52-40C2-BD9E-64B76A330DF5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823942" y="3749832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6</a:t>
            </a:r>
            <a:endParaRPr lang="es-CL" dirty="0"/>
          </a:p>
        </p:txBody>
      </p:sp>
      <p:sp>
        <p:nvSpPr>
          <p:cNvPr id="15" name="Marcador de texto 7">
            <a:extLst>
              <a:ext uri="{FF2B5EF4-FFF2-40B4-BE49-F238E27FC236}">
                <a16:creationId xmlns="" xmlns:a16="http://schemas.microsoft.com/office/drawing/2014/main" id="{212DCDD1-366D-9A68-3E55-CEB914F9AD75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449262" y="5046017"/>
            <a:ext cx="753896" cy="5782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16" name="Marcador de texto 7">
            <a:extLst>
              <a:ext uri="{FF2B5EF4-FFF2-40B4-BE49-F238E27FC236}">
                <a16:creationId xmlns="" xmlns:a16="http://schemas.microsoft.com/office/drawing/2014/main" id="{5D8DABCA-3E6E-6521-D458-854891BF1192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823942" y="5301906"/>
            <a:ext cx="1242719" cy="73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6</a:t>
            </a:r>
            <a:endParaRPr lang="es-CL" dirty="0"/>
          </a:p>
        </p:txBody>
      </p:sp>
      <p:sp>
        <p:nvSpPr>
          <p:cNvPr id="5" name="Título 4">
            <a:extLst>
              <a:ext uri="{FF2B5EF4-FFF2-40B4-BE49-F238E27FC236}">
                <a16:creationId xmlns="" xmlns:a16="http://schemas.microsoft.com/office/drawing/2014/main" id="{2F3B9715-D07F-3864-81AC-DFB139F002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10" name="Marcador de texto 7">
            <a:extLst>
              <a:ext uri="{FF2B5EF4-FFF2-40B4-BE49-F238E27FC236}">
                <a16:creationId xmlns="" xmlns:a16="http://schemas.microsoft.com/office/drawing/2014/main" id="{53258BAC-810B-C764-8E58-DB47E4CB54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40619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4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42ECFC8D-9E4C-1277-A15B-B59DBD28B8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40620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200025" indent="-200025"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4</a:t>
            </a:r>
            <a:endParaRPr lang="es-CL" dirty="0"/>
          </a:p>
        </p:txBody>
      </p:sp>
      <p:sp>
        <p:nvSpPr>
          <p:cNvPr id="20" name="Subtítulo 2">
            <a:extLst>
              <a:ext uri="{FF2B5EF4-FFF2-40B4-BE49-F238E27FC236}">
                <a16:creationId xmlns="" xmlns:a16="http://schemas.microsoft.com/office/drawing/2014/main" id="{46DA7DB3-F2BD-15F8-B6BA-108CEF907C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69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8" name="Marcador de número de diapositiva 7"/>
          <p:cNvSpPr>
            <a:spLocks noGrp="1"/>
          </p:cNvSpPr>
          <p:nvPr>
            <p:ph type="sldNum" sz="quarter" idx="70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26" name="Gráfico 7">
            <a:extLst>
              <a:ext uri="{FF2B5EF4-FFF2-40B4-BE49-F238E27FC236}">
                <a16:creationId xmlns="" xmlns:a16="http://schemas.microsoft.com/office/drawing/2014/main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559444" y="367977"/>
            <a:ext cx="1224570" cy="50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401431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280">
          <p15:clr>
            <a:srgbClr val="FBAE40"/>
          </p15:clr>
        </p15:guide>
        <p15:guide id="2" orient="horz" pos="1094">
          <p15:clr>
            <a:srgbClr val="FBAE40"/>
          </p15:clr>
        </p15:guide>
        <p15:guide id="3" orient="horz" pos="2546">
          <p15:clr>
            <a:srgbClr val="FBAE40"/>
          </p15:clr>
        </p15:guide>
        <p15:guide id="4" orient="horz" pos="3816">
          <p15:clr>
            <a:srgbClr val="FBAE40"/>
          </p15:clr>
        </p15:guide>
        <p15:guide id="5" pos="1504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AF724E63-9886-C6FB-1FC3-6B75A6CCCA11}"/>
              </a:ext>
            </a:extLst>
          </p:cNvPr>
          <p:cNvSpPr/>
          <p:nvPr userDrawn="1"/>
        </p:nvSpPr>
        <p:spPr>
          <a:xfrm>
            <a:off x="8825392" y="0"/>
            <a:ext cx="3370791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endParaRPr lang="es-CL" sz="1400" dirty="0">
              <a:solidFill>
                <a:srgbClr val="000000"/>
              </a:solidFill>
            </a:endParaRPr>
          </a:p>
        </p:txBody>
      </p:sp>
      <p:graphicFrame>
        <p:nvGraphicFramePr>
          <p:cNvPr id="3" name="Objeto 2" hidden="1">
            <a:extLst>
              <a:ext uri="{FF2B5EF4-FFF2-40B4-BE49-F238E27FC236}">
                <a16:creationId xmlns="" xmlns:a16="http://schemas.microsoft.com/office/drawing/2014/main" id="{F257A930-1B12-7B4A-B402-734BCB48BA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="" xmlns:a16="http://schemas.microsoft.com/office/drawing/2014/main" id="{F257A930-1B12-7B4A-B402-734BCB48BA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B26859F0-E9CF-BDA5-2D2F-7DBFF3416B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40619" y="1730855"/>
            <a:ext cx="2441307" cy="2909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4</a:t>
            </a:r>
            <a:endParaRPr lang="es-CL" dirty="0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D94985E1-B3DE-0AEA-1F1D-3854914292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40620" y="2169128"/>
            <a:ext cx="2441307" cy="3870778"/>
          </a:xfrm>
          <a:prstGeom prst="rect">
            <a:avLst/>
          </a:prstGeom>
        </p:spPr>
        <p:txBody>
          <a:bodyPr lIns="0" tIns="0" rIns="0" bIns="0"/>
          <a:lstStyle>
            <a:lvl1pPr marL="192088" indent="-192088"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14</a:t>
            </a:r>
            <a:endParaRPr lang="es-CL" dirty="0"/>
          </a:p>
        </p:txBody>
      </p:sp>
      <p:sp>
        <p:nvSpPr>
          <p:cNvPr id="9" name="Título 8">
            <a:extLst>
              <a:ext uri="{FF2B5EF4-FFF2-40B4-BE49-F238E27FC236}">
                <a16:creationId xmlns="" xmlns:a16="http://schemas.microsoft.com/office/drawing/2014/main" id="{E4945A70-3CC1-30BE-FEDB-E46736A59C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17" name="Subtítulo 2">
            <a:extLst>
              <a:ext uri="{FF2B5EF4-FFF2-40B4-BE49-F238E27FC236}">
                <a16:creationId xmlns="" xmlns:a16="http://schemas.microsoft.com/office/drawing/2014/main" id="{4515C2E5-FAF0-EA40-6643-F8742AD31B5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14" name="Gráfico 7">
            <a:extLst>
              <a:ext uri="{FF2B5EF4-FFF2-40B4-BE49-F238E27FC236}">
                <a16:creationId xmlns="" xmlns:a16="http://schemas.microsoft.com/office/drawing/2014/main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559444" y="367977"/>
            <a:ext cx="1224570" cy="50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452557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3612">
          <p15:clr>
            <a:srgbClr val="FBAE40"/>
          </p15:clr>
        </p15:guide>
        <p15:guide id="2" orient="horz" pos="4226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comparativa 4 categorías y descrip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0B42D332-2844-E942-96BC-37A626E303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0B42D332-2844-E942-96BC-37A626E303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ítulo 4">
            <a:extLst>
              <a:ext uri="{FF2B5EF4-FFF2-40B4-BE49-F238E27FC236}">
                <a16:creationId xmlns="" xmlns:a16="http://schemas.microsoft.com/office/drawing/2014/main" id="{2F3B9715-D07F-3864-81AC-DFB139F002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20" name="Subtítulo 2">
            <a:extLst>
              <a:ext uri="{FF2B5EF4-FFF2-40B4-BE49-F238E27FC236}">
                <a16:creationId xmlns="" xmlns:a16="http://schemas.microsoft.com/office/drawing/2014/main" id="{46DA7DB3-F2BD-15F8-B6BA-108CEF907C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CF985600-E7D8-9E44-82E9-F97AD68006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05184" y="1667640"/>
            <a:ext cx="3614815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sz="1400" b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</a:p>
        </p:txBody>
      </p:sp>
      <p:sp>
        <p:nvSpPr>
          <p:cNvPr id="26" name="Marcador de texto 7">
            <a:extLst>
              <a:ext uri="{FF2B5EF4-FFF2-40B4-BE49-F238E27FC236}">
                <a16:creationId xmlns="" xmlns:a16="http://schemas.microsoft.com/office/drawing/2014/main" id="{06EBF3F5-82CF-3447-9CBB-BB0F933A6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8812" y="1840571"/>
            <a:ext cx="1292129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27" name="Conector recto 26">
            <a:extLst>
              <a:ext uri="{FF2B5EF4-FFF2-40B4-BE49-F238E27FC236}">
                <a16:creationId xmlns="" xmlns:a16="http://schemas.microsoft.com/office/drawing/2014/main" id="{918C4B25-4DE6-4C44-8031-9999A5B2D42B}"/>
              </a:ext>
            </a:extLst>
          </p:cNvPr>
          <p:cNvCxnSpPr/>
          <p:nvPr userDrawn="1"/>
        </p:nvCxnSpPr>
        <p:spPr>
          <a:xfrm>
            <a:off x="3599624" y="1622497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8" name="Marcador de texto 7">
            <a:extLst>
              <a:ext uri="{FF2B5EF4-FFF2-40B4-BE49-F238E27FC236}">
                <a16:creationId xmlns="" xmlns:a16="http://schemas.microsoft.com/office/drawing/2014/main" id="{E88A7927-DC3B-3544-BD64-28D716E9E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5184" y="2877804"/>
            <a:ext cx="3610800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sz="1400" b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</a:p>
        </p:txBody>
      </p:sp>
      <p:sp>
        <p:nvSpPr>
          <p:cNvPr id="29" name="Marcador de texto 7">
            <a:extLst>
              <a:ext uri="{FF2B5EF4-FFF2-40B4-BE49-F238E27FC236}">
                <a16:creationId xmlns="" xmlns:a16="http://schemas.microsoft.com/office/drawing/2014/main" id="{F1AE937D-E749-AB49-A58B-96D93517F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28812" y="3050735"/>
            <a:ext cx="128812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30" name="Conector recto 29">
            <a:extLst>
              <a:ext uri="{FF2B5EF4-FFF2-40B4-BE49-F238E27FC236}">
                <a16:creationId xmlns="" xmlns:a16="http://schemas.microsoft.com/office/drawing/2014/main" id="{82B8DDEA-E931-994F-86BA-42BAB21F35DB}"/>
              </a:ext>
            </a:extLst>
          </p:cNvPr>
          <p:cNvCxnSpPr/>
          <p:nvPr userDrawn="1"/>
        </p:nvCxnSpPr>
        <p:spPr>
          <a:xfrm>
            <a:off x="3599624" y="2836620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1" name="Marcador de texto 7">
            <a:extLst>
              <a:ext uri="{FF2B5EF4-FFF2-40B4-BE49-F238E27FC236}">
                <a16:creationId xmlns="" xmlns:a16="http://schemas.microsoft.com/office/drawing/2014/main" id="{32B82F2E-C60E-4F49-9E04-817DE4A46A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05184" y="4087968"/>
            <a:ext cx="3610800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sz="1400" b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</a:p>
        </p:txBody>
      </p:sp>
      <p:sp>
        <p:nvSpPr>
          <p:cNvPr id="32" name="Marcador de texto 7">
            <a:extLst>
              <a:ext uri="{FF2B5EF4-FFF2-40B4-BE49-F238E27FC236}">
                <a16:creationId xmlns="" xmlns:a16="http://schemas.microsoft.com/office/drawing/2014/main" id="{53ACC097-9A1C-3241-80E5-4FA2DBCD5E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28812" y="4260899"/>
            <a:ext cx="128811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33" name="Conector recto 32">
            <a:extLst>
              <a:ext uri="{FF2B5EF4-FFF2-40B4-BE49-F238E27FC236}">
                <a16:creationId xmlns="" xmlns:a16="http://schemas.microsoft.com/office/drawing/2014/main" id="{25F53A69-89D3-734D-9B06-56318A2B5E6E}"/>
              </a:ext>
            </a:extLst>
          </p:cNvPr>
          <p:cNvCxnSpPr/>
          <p:nvPr userDrawn="1"/>
        </p:nvCxnSpPr>
        <p:spPr>
          <a:xfrm>
            <a:off x="3599624" y="4050743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4" name="Marcador de texto 7">
            <a:extLst>
              <a:ext uri="{FF2B5EF4-FFF2-40B4-BE49-F238E27FC236}">
                <a16:creationId xmlns="" xmlns:a16="http://schemas.microsoft.com/office/drawing/2014/main" id="{E5228B0D-DF98-794A-B213-566DD6D000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05184" y="5298133"/>
            <a:ext cx="3614811" cy="75878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sz="1400" b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</a:p>
          <a:p>
            <a:pPr lvl="0"/>
            <a:r>
              <a:rPr lang="es-ES" dirty="0"/>
              <a:t>Texto Arial 14</a:t>
            </a:r>
          </a:p>
        </p:txBody>
      </p:sp>
      <p:sp>
        <p:nvSpPr>
          <p:cNvPr id="35" name="Marcador de texto 7">
            <a:extLst>
              <a:ext uri="{FF2B5EF4-FFF2-40B4-BE49-F238E27FC236}">
                <a16:creationId xmlns="" xmlns:a16="http://schemas.microsoft.com/office/drawing/2014/main" id="{12AA98F3-ECF0-0846-98CE-48B524FC17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28812" y="5471064"/>
            <a:ext cx="1288107" cy="4679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cxnSp>
        <p:nvCxnSpPr>
          <p:cNvPr id="36" name="Conector recto 35">
            <a:extLst>
              <a:ext uri="{FF2B5EF4-FFF2-40B4-BE49-F238E27FC236}">
                <a16:creationId xmlns="" xmlns:a16="http://schemas.microsoft.com/office/drawing/2014/main" id="{A420EF3B-A9EA-F74A-AFB4-B01AC7830323}"/>
              </a:ext>
            </a:extLst>
          </p:cNvPr>
          <p:cNvCxnSpPr/>
          <p:nvPr userDrawn="1"/>
        </p:nvCxnSpPr>
        <p:spPr>
          <a:xfrm>
            <a:off x="3599624" y="5264866"/>
            <a:ext cx="0" cy="849066"/>
          </a:xfrm>
          <a:prstGeom prst="line">
            <a:avLst/>
          </a:prstGeom>
          <a:noFill/>
          <a:ln w="12700" cap="flat">
            <a:solidFill>
              <a:schemeClr val="bg2"/>
            </a:solidFill>
            <a:prstDash val="sysDot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7" name="Marcador de posición de imagen 2">
            <a:extLst>
              <a:ext uri="{FF2B5EF4-FFF2-40B4-BE49-F238E27FC236}">
                <a16:creationId xmlns="" xmlns:a16="http://schemas.microsoft.com/office/drawing/2014/main" id="{8FCD531C-778A-2E4A-9ABA-A34D4648680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404225" y="1667640"/>
            <a:ext cx="3323432" cy="21278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38" name="Marcador de posición de imagen 2">
            <a:extLst>
              <a:ext uri="{FF2B5EF4-FFF2-40B4-BE49-F238E27FC236}">
                <a16:creationId xmlns="" xmlns:a16="http://schemas.microsoft.com/office/drawing/2014/main" id="{E1719074-B64D-B840-B12F-779CE3A91C3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404225" y="3930697"/>
            <a:ext cx="3323432" cy="212780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39" name="Marcador de posición de imagen 3">
            <a:extLst>
              <a:ext uri="{FF2B5EF4-FFF2-40B4-BE49-F238E27FC236}">
                <a16:creationId xmlns="" xmlns:a16="http://schemas.microsoft.com/office/drawing/2014/main" id="{BF352FCF-2840-F641-B261-0E6B39E92845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804509" y="1723883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0" name="Marcador de posición de imagen 3">
            <a:extLst>
              <a:ext uri="{FF2B5EF4-FFF2-40B4-BE49-F238E27FC236}">
                <a16:creationId xmlns="" xmlns:a16="http://schemas.microsoft.com/office/drawing/2014/main" id="{FC5D998E-8878-364C-B535-4672C2DA176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804509" y="2931491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1" name="Marcador de posición de imagen 3">
            <a:extLst>
              <a:ext uri="{FF2B5EF4-FFF2-40B4-BE49-F238E27FC236}">
                <a16:creationId xmlns="" xmlns:a16="http://schemas.microsoft.com/office/drawing/2014/main" id="{7BE1B078-7F8B-5649-8CC2-046FD74D82BE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804509" y="4139099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42" name="Marcador de posición de imagen 3">
            <a:extLst>
              <a:ext uri="{FF2B5EF4-FFF2-40B4-BE49-F238E27FC236}">
                <a16:creationId xmlns="" xmlns:a16="http://schemas.microsoft.com/office/drawing/2014/main" id="{7C49BCC0-4D4D-EB4A-8268-F60F518F5523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804509" y="5346707"/>
            <a:ext cx="772234" cy="66170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900"/>
            </a:lvl1pPr>
          </a:lstStyle>
          <a:p>
            <a:pPr marL="304800" marR="0" indent="-304800" algn="l" defTabSz="1218406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</a:pPr>
            <a:r>
              <a:rPr lang="es-CL" dirty="0"/>
              <a:t>Insertar icono</a:t>
            </a:r>
          </a:p>
        </p:txBody>
      </p:sp>
      <p:sp>
        <p:nvSpPr>
          <p:cNvPr id="2" name="Marcador de pie de página 1"/>
          <p:cNvSpPr>
            <a:spLocks noGrp="1"/>
          </p:cNvSpPr>
          <p:nvPr>
            <p:ph type="ftr" sz="quarter" idx="53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54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575133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280">
          <p15:clr>
            <a:srgbClr val="FBAE40"/>
          </p15:clr>
        </p15:guide>
        <p15:guide id="2" orient="horz" pos="1094">
          <p15:clr>
            <a:srgbClr val="FBAE40"/>
          </p15:clr>
        </p15:guide>
        <p15:guide id="3" orient="horz" pos="2546">
          <p15:clr>
            <a:srgbClr val="FBAE40"/>
          </p15:clr>
        </p15:guide>
        <p15:guide id="4" orient="horz" pos="3816">
          <p15:clr>
            <a:srgbClr val="FBAE40"/>
          </p15:clr>
        </p15:guide>
        <p15:guide id="5" pos="1504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4CC8A321-110D-F84C-BC3A-3F4DCCDAB0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="" xmlns:a16="http://schemas.microsoft.com/office/drawing/2014/main" id="{4CC8A321-110D-F84C-BC3A-3F4DCCDAB0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Marcador de texto 4">
            <a:extLst>
              <a:ext uri="{FF2B5EF4-FFF2-40B4-BE49-F238E27FC236}">
                <a16:creationId xmlns="" xmlns:a16="http://schemas.microsoft.com/office/drawing/2014/main" id="{9440AD7B-097E-C24C-A4EE-30C53E3EC6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-626227" y="976313"/>
            <a:ext cx="9078851" cy="67447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95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 err="1"/>
              <a:t>Nº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5AD2C0A8-B6B2-0419-0AFF-3341208219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7551" y="427088"/>
            <a:ext cx="2138711" cy="239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 err="1"/>
              <a:t>Nº</a:t>
            </a:r>
            <a:r>
              <a:rPr lang="es-ES" dirty="0"/>
              <a:t> - Título del capítulo</a:t>
            </a:r>
            <a:endParaRPr lang="es-CL" dirty="0"/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81C8C9F4-8EE4-DE3A-A006-90BC9A669AB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14400" y="2150888"/>
            <a:ext cx="10326029" cy="39153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complementario</a:t>
            </a:r>
            <a:br>
              <a:rPr lang="es-ES" dirty="0"/>
            </a:br>
            <a:r>
              <a:rPr lang="es-ES" dirty="0"/>
              <a:t>Arial - 40 puntos</a:t>
            </a:r>
            <a:endParaRPr lang="es-CL" dirty="0"/>
          </a:p>
        </p:txBody>
      </p:sp>
      <p:sp>
        <p:nvSpPr>
          <p:cNvPr id="10" name="Marcador de texto 7">
            <a:extLst>
              <a:ext uri="{FF2B5EF4-FFF2-40B4-BE49-F238E27FC236}">
                <a16:creationId xmlns="" xmlns:a16="http://schemas.microsoft.com/office/drawing/2014/main" id="{92EF5749-03D5-7EB9-B918-BCA03C16099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14400" y="1260300"/>
            <a:ext cx="10326029" cy="523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- 40 puntos</a:t>
            </a:r>
            <a:endParaRPr lang="es-CL" dirty="0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56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362312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6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89">
          <p15:clr>
            <a:srgbClr val="FBAE40"/>
          </p15:clr>
        </p15:guide>
        <p15:guide id="4" pos="7061">
          <p15:clr>
            <a:srgbClr val="FBAE40"/>
          </p15:clr>
        </p15:guide>
        <p15:guide id="5" orient="horz" pos="1553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="" xmlns:a16="http://schemas.microsoft.com/office/drawing/2014/main" id="{A6585990-3747-324F-0060-32ED55A50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6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="" xmlns:a16="http://schemas.microsoft.com/office/drawing/2014/main" id="{A6585990-3747-324F-0060-32ED55A50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ounded Rectangle 7">
            <a:extLst>
              <a:ext uri="{FF2B5EF4-FFF2-40B4-BE49-F238E27FC236}">
                <a16:creationId xmlns="" xmlns:a16="http://schemas.microsoft.com/office/drawing/2014/main" id="{43F9EBD2-4C4B-C461-9E65-263C12994DD9}"/>
              </a:ext>
            </a:extLst>
          </p:cNvPr>
          <p:cNvSpPr/>
          <p:nvPr userDrawn="1"/>
        </p:nvSpPr>
        <p:spPr>
          <a:xfrm>
            <a:off x="6144759" y="3573642"/>
            <a:ext cx="2736056" cy="4561956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 dirty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" name="Rounded Rectangle 8">
            <a:extLst>
              <a:ext uri="{FF2B5EF4-FFF2-40B4-BE49-F238E27FC236}">
                <a16:creationId xmlns="" xmlns:a16="http://schemas.microsoft.com/office/drawing/2014/main" id="{4B761308-A9E1-9890-CCD4-F0057B7603E2}"/>
              </a:ext>
            </a:extLst>
          </p:cNvPr>
          <p:cNvSpPr/>
          <p:nvPr userDrawn="1"/>
        </p:nvSpPr>
        <p:spPr>
          <a:xfrm>
            <a:off x="9004691" y="3573642"/>
            <a:ext cx="2736056" cy="4561956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="" xmlns:a16="http://schemas.microsoft.com/office/drawing/2014/main" id="{2B020FD0-C3CF-079E-6BA3-397032E5E582}"/>
              </a:ext>
            </a:extLst>
          </p:cNvPr>
          <p:cNvSpPr/>
          <p:nvPr userDrawn="1"/>
        </p:nvSpPr>
        <p:spPr>
          <a:xfrm>
            <a:off x="424895" y="3573642"/>
            <a:ext cx="2736056" cy="4561956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7" name="Rounded Rectangle 6">
            <a:extLst>
              <a:ext uri="{FF2B5EF4-FFF2-40B4-BE49-F238E27FC236}">
                <a16:creationId xmlns="" xmlns:a16="http://schemas.microsoft.com/office/drawing/2014/main" id="{7CC29913-6DCC-A9CB-3E1A-E21B16DDC623}"/>
              </a:ext>
            </a:extLst>
          </p:cNvPr>
          <p:cNvSpPr/>
          <p:nvPr userDrawn="1"/>
        </p:nvSpPr>
        <p:spPr>
          <a:xfrm>
            <a:off x="3284827" y="2539235"/>
            <a:ext cx="2736056" cy="4561956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5" name="Marcador de texto 7">
            <a:extLst>
              <a:ext uri="{FF2B5EF4-FFF2-40B4-BE49-F238E27FC236}">
                <a16:creationId xmlns="" xmlns:a16="http://schemas.microsoft.com/office/drawing/2014/main" id="{6BF8A88C-2650-B342-AC6A-0910D46C63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7457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66" name="Marcador de texto 7">
            <a:extLst>
              <a:ext uri="{FF2B5EF4-FFF2-40B4-BE49-F238E27FC236}">
                <a16:creationId xmlns="" xmlns:a16="http://schemas.microsoft.com/office/drawing/2014/main" id="{8FBF1655-AF76-F945-B38F-FE31E3035D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7457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67" name="Marcador de texto 7">
            <a:extLst>
              <a:ext uri="{FF2B5EF4-FFF2-40B4-BE49-F238E27FC236}">
                <a16:creationId xmlns="" xmlns:a16="http://schemas.microsoft.com/office/drawing/2014/main" id="{D09FBF73-0F86-334D-A640-40FA6422E5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7458" y="4554724"/>
            <a:ext cx="2186318" cy="2525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69" name="Marcador de texto 7">
            <a:extLst>
              <a:ext uri="{FF2B5EF4-FFF2-40B4-BE49-F238E27FC236}">
                <a16:creationId xmlns="" xmlns:a16="http://schemas.microsoft.com/office/drawing/2014/main" id="{8DAFB3E8-F17D-0145-B3D7-D9F9A58CEA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44175" y="4040828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70" name="Marcador de texto 7">
            <a:extLst>
              <a:ext uri="{FF2B5EF4-FFF2-40B4-BE49-F238E27FC236}">
                <a16:creationId xmlns="" xmlns:a16="http://schemas.microsoft.com/office/drawing/2014/main" id="{69AEA284-6214-104E-8E27-8BB480AF74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44175" y="2951931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71" name="Marcador de texto 7">
            <a:extLst>
              <a:ext uri="{FF2B5EF4-FFF2-40B4-BE49-F238E27FC236}">
                <a16:creationId xmlns="" xmlns:a16="http://schemas.microsoft.com/office/drawing/2014/main" id="{38C79E41-A17D-4B48-8B91-1215DC2A1A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44175" y="3510797"/>
            <a:ext cx="2186318" cy="2620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73" name="Marcador de texto 7">
            <a:extLst>
              <a:ext uri="{FF2B5EF4-FFF2-40B4-BE49-F238E27FC236}">
                <a16:creationId xmlns="" xmlns:a16="http://schemas.microsoft.com/office/drawing/2014/main" id="{E6767AED-37F8-A841-8040-0EEB3BC4FF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12066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74" name="Marcador de texto 7">
            <a:extLst>
              <a:ext uri="{FF2B5EF4-FFF2-40B4-BE49-F238E27FC236}">
                <a16:creationId xmlns="" xmlns:a16="http://schemas.microsoft.com/office/drawing/2014/main" id="{55E7DFFB-09B1-2241-828E-6853EF3F21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12066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90" name="Marcador de texto 7">
            <a:extLst>
              <a:ext uri="{FF2B5EF4-FFF2-40B4-BE49-F238E27FC236}">
                <a16:creationId xmlns="" xmlns:a16="http://schemas.microsoft.com/office/drawing/2014/main" id="{A458015D-8739-2F48-BD8C-5FAB6F27784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12067" y="4554726"/>
            <a:ext cx="2186318" cy="2525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92" name="Marcador de texto 7">
            <a:extLst>
              <a:ext uri="{FF2B5EF4-FFF2-40B4-BE49-F238E27FC236}">
                <a16:creationId xmlns="" xmlns:a16="http://schemas.microsoft.com/office/drawing/2014/main" id="{37B63F82-511B-904F-AE58-F9D3280955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8394" y="5084755"/>
            <a:ext cx="2186319" cy="15397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93" name="Marcador de texto 7">
            <a:extLst>
              <a:ext uri="{FF2B5EF4-FFF2-40B4-BE49-F238E27FC236}">
                <a16:creationId xmlns="" xmlns:a16="http://schemas.microsoft.com/office/drawing/2014/main" id="{1B33BBFE-9406-CE41-ACA3-CFE95C7448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38394" y="3995858"/>
            <a:ext cx="125730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0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94" name="Marcador de texto 7">
            <a:extLst>
              <a:ext uri="{FF2B5EF4-FFF2-40B4-BE49-F238E27FC236}">
                <a16:creationId xmlns="" xmlns:a16="http://schemas.microsoft.com/office/drawing/2014/main" id="{C874917F-D4AC-584B-91E6-BD1A3D307C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38394" y="4554726"/>
            <a:ext cx="2186318" cy="2525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6</a:t>
            </a:r>
            <a:endParaRPr lang="es-CL" dirty="0"/>
          </a:p>
        </p:txBody>
      </p:sp>
      <p:sp>
        <p:nvSpPr>
          <p:cNvPr id="3" name="Título 2">
            <a:extLst>
              <a:ext uri="{FF2B5EF4-FFF2-40B4-BE49-F238E27FC236}">
                <a16:creationId xmlns="" xmlns:a16="http://schemas.microsoft.com/office/drawing/2014/main" id="{17A72492-A9F9-DCA1-C950-ACF0B08563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14" name="Subtítulo 2">
            <a:extLst>
              <a:ext uri="{FF2B5EF4-FFF2-40B4-BE49-F238E27FC236}">
                <a16:creationId xmlns="" xmlns:a16="http://schemas.microsoft.com/office/drawing/2014/main" id="{4502BE2A-23D2-E8AA-094B-85304AE07A1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sp>
        <p:nvSpPr>
          <p:cNvPr id="2" name="Marcador de pie de página 1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980942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74">
          <p15:clr>
            <a:srgbClr val="FBAE40"/>
          </p15:clr>
        </p15:guide>
        <p15:guide id="3" orient="horz" pos="1638">
          <p15:clr>
            <a:srgbClr val="FBAE40"/>
          </p15:clr>
        </p15:guide>
        <p15:guide id="4" pos="2071">
          <p15:clr>
            <a:srgbClr val="FBAE40"/>
          </p15:clr>
        </p15:guide>
        <p15:guide id="5" pos="5655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ámina noticias co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="" xmlns:a16="http://schemas.microsoft.com/office/drawing/2014/main" id="{B94836DB-A449-5E5A-4EA3-690CF44CFB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0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="" xmlns:a16="http://schemas.microsoft.com/office/drawing/2014/main" id="{B94836DB-A449-5E5A-4EA3-690CF44CFB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ounded Rectangle 8">
            <a:extLst>
              <a:ext uri="{FF2B5EF4-FFF2-40B4-BE49-F238E27FC236}">
                <a16:creationId xmlns="" xmlns:a16="http://schemas.microsoft.com/office/drawing/2014/main" id="{5D79035D-CD47-D3EF-FE97-9B573CA0A9DF}"/>
              </a:ext>
            </a:extLst>
          </p:cNvPr>
          <p:cNvSpPr/>
          <p:nvPr userDrawn="1"/>
        </p:nvSpPr>
        <p:spPr>
          <a:xfrm>
            <a:off x="6144759" y="2539235"/>
            <a:ext cx="2736056" cy="4561956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 dirty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="" xmlns:a16="http://schemas.microsoft.com/office/drawing/2014/main" id="{3A1423AA-21DD-48FC-14CD-A10E4C9A4369}"/>
              </a:ext>
            </a:extLst>
          </p:cNvPr>
          <p:cNvSpPr/>
          <p:nvPr userDrawn="1"/>
        </p:nvSpPr>
        <p:spPr>
          <a:xfrm>
            <a:off x="9004691" y="2539235"/>
            <a:ext cx="2736056" cy="4561956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="" xmlns:a16="http://schemas.microsoft.com/office/drawing/2014/main" id="{E7F2AD97-4318-2D62-02D4-CC56D2EBE040}"/>
              </a:ext>
            </a:extLst>
          </p:cNvPr>
          <p:cNvSpPr/>
          <p:nvPr userDrawn="1"/>
        </p:nvSpPr>
        <p:spPr>
          <a:xfrm>
            <a:off x="424895" y="2539235"/>
            <a:ext cx="2736056" cy="4561956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" name="Rounded Rectangle 4">
            <a:extLst>
              <a:ext uri="{FF2B5EF4-FFF2-40B4-BE49-F238E27FC236}">
                <a16:creationId xmlns="" xmlns:a16="http://schemas.microsoft.com/office/drawing/2014/main" id="{3C6D1DD5-4CE5-A48F-7E97-F261817DB983}"/>
              </a:ext>
            </a:extLst>
          </p:cNvPr>
          <p:cNvSpPr/>
          <p:nvPr userDrawn="1"/>
        </p:nvSpPr>
        <p:spPr>
          <a:xfrm>
            <a:off x="3284827" y="2539235"/>
            <a:ext cx="2736056" cy="4561956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500">
              <a:lnSpc>
                <a:spcPct val="100000"/>
              </a:lnSpc>
              <a:spcBef>
                <a:spcPts val="0"/>
              </a:spcBef>
            </a:pPr>
            <a:endParaRPr lang="x-none"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8" name="Marcador de texto 7">
            <a:extLst>
              <a:ext uri="{FF2B5EF4-FFF2-40B4-BE49-F238E27FC236}">
                <a16:creationId xmlns="" xmlns:a16="http://schemas.microsoft.com/office/drawing/2014/main" id="{F57E9CCB-4FEF-3B4C-BB29-A871DC96C8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6284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29" name="Marcador de texto 7">
            <a:extLst>
              <a:ext uri="{FF2B5EF4-FFF2-40B4-BE49-F238E27FC236}">
                <a16:creationId xmlns="" xmlns:a16="http://schemas.microsoft.com/office/drawing/2014/main" id="{D012B9D1-835B-7745-97E3-74B7D8ED94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6284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 dirty="0"/>
              <a:t>Título Arial </a:t>
            </a:r>
            <a:r>
              <a:rPr lang="es-CL" dirty="0"/>
              <a:t>16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="" xmlns:a16="http://schemas.microsoft.com/office/drawing/2014/main" id="{0EA17AB2-535B-3E41-9012-14AE4DF3B69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76275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33" name="Marcador de texto 7">
            <a:extLst>
              <a:ext uri="{FF2B5EF4-FFF2-40B4-BE49-F238E27FC236}">
                <a16:creationId xmlns="" xmlns:a16="http://schemas.microsoft.com/office/drawing/2014/main" id="{0DCF0A1D-0E92-3E4E-AE6C-06E920D6E6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13002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4" name="Marcador de texto 7">
            <a:extLst>
              <a:ext uri="{FF2B5EF4-FFF2-40B4-BE49-F238E27FC236}">
                <a16:creationId xmlns="" xmlns:a16="http://schemas.microsoft.com/office/drawing/2014/main" id="{6C423F7D-EEBF-3A44-B527-08BE6EB1B0E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13002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 dirty="0"/>
              <a:t>Título Arial </a:t>
            </a:r>
            <a:r>
              <a:rPr lang="es-CL" dirty="0"/>
              <a:t>16</a:t>
            </a:r>
          </a:p>
        </p:txBody>
      </p:sp>
      <p:sp>
        <p:nvSpPr>
          <p:cNvPr id="35" name="Marcador de posición de imagen 2">
            <a:extLst>
              <a:ext uri="{FF2B5EF4-FFF2-40B4-BE49-F238E27FC236}">
                <a16:creationId xmlns="" xmlns:a16="http://schemas.microsoft.com/office/drawing/2014/main" id="{93186F0C-C7B9-764C-B99E-96FA0437C4C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512993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37" name="Marcador de texto 7">
            <a:extLst>
              <a:ext uri="{FF2B5EF4-FFF2-40B4-BE49-F238E27FC236}">
                <a16:creationId xmlns="" xmlns:a16="http://schemas.microsoft.com/office/drawing/2014/main" id="{B61C247D-37DA-1141-B436-E9CA5E4D93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80893" y="2870424"/>
            <a:ext cx="2336790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38" name="Marcador de texto 7">
            <a:extLst>
              <a:ext uri="{FF2B5EF4-FFF2-40B4-BE49-F238E27FC236}">
                <a16:creationId xmlns="" xmlns:a16="http://schemas.microsoft.com/office/drawing/2014/main" id="{BBA61BC9-7FB0-9C4F-B8DC-AC4C5F1DD8D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80893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 dirty="0"/>
              <a:t>Título Arial </a:t>
            </a:r>
            <a:r>
              <a:rPr lang="es-CL" dirty="0"/>
              <a:t>16</a:t>
            </a:r>
          </a:p>
        </p:txBody>
      </p:sp>
      <p:sp>
        <p:nvSpPr>
          <p:cNvPr id="44" name="Marcador de posición de imagen 2">
            <a:extLst>
              <a:ext uri="{FF2B5EF4-FFF2-40B4-BE49-F238E27FC236}">
                <a16:creationId xmlns="" xmlns:a16="http://schemas.microsoft.com/office/drawing/2014/main" id="{57D13356-69C7-2542-A744-E65AE47B81E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80884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46" name="Marcador de texto 7">
            <a:extLst>
              <a:ext uri="{FF2B5EF4-FFF2-40B4-BE49-F238E27FC236}">
                <a16:creationId xmlns="" xmlns:a16="http://schemas.microsoft.com/office/drawing/2014/main" id="{31421233-7F3D-574E-9B40-A3D57BE496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07220" y="2870424"/>
            <a:ext cx="2336791" cy="511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47" name="Marcador de texto 7">
            <a:extLst>
              <a:ext uri="{FF2B5EF4-FFF2-40B4-BE49-F238E27FC236}">
                <a16:creationId xmlns="" xmlns:a16="http://schemas.microsoft.com/office/drawing/2014/main" id="{B2A73391-D262-9140-B309-BB12AA19FA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7221" y="3429292"/>
            <a:ext cx="2336791" cy="12398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" dirty="0"/>
              <a:t>Título Arial </a:t>
            </a:r>
            <a:r>
              <a:rPr lang="es-CL" dirty="0"/>
              <a:t>16</a:t>
            </a:r>
          </a:p>
        </p:txBody>
      </p:sp>
      <p:sp>
        <p:nvSpPr>
          <p:cNvPr id="48" name="Marcador de posición de imagen 2">
            <a:extLst>
              <a:ext uri="{FF2B5EF4-FFF2-40B4-BE49-F238E27FC236}">
                <a16:creationId xmlns="" xmlns:a16="http://schemas.microsoft.com/office/drawing/2014/main" id="{45275E7E-6C59-1249-AD15-26DA1036953E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207212" y="4852194"/>
            <a:ext cx="2336800" cy="14652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Doble clic para incorporar una imagen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9778E4AE-1610-C062-F7EC-A41B30388A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14" name="Subtítulo 2">
            <a:extLst>
              <a:ext uri="{FF2B5EF4-FFF2-40B4-BE49-F238E27FC236}">
                <a16:creationId xmlns="" xmlns:a16="http://schemas.microsoft.com/office/drawing/2014/main" id="{B31A843B-023E-04B5-0A32-E5F49E45D48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657568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74">
          <p15:clr>
            <a:srgbClr val="FBAE40"/>
          </p15:clr>
        </p15:guide>
        <p15:guide id="3" orient="horz" pos="1637">
          <p15:clr>
            <a:srgbClr val="FBAE40"/>
          </p15:clr>
        </p15:guide>
        <p15:guide id="4" pos="2071">
          <p15:clr>
            <a:srgbClr val="FBAE40"/>
          </p15:clr>
        </p15:guide>
        <p15:guide id="5" pos="5655">
          <p15:clr>
            <a:srgbClr val="FBAE40"/>
          </p15:clr>
        </p15:guide>
        <p15:guide id="6" orient="horz" pos="66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tivos 3 pun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="" xmlns:a16="http://schemas.microsoft.com/office/drawing/2014/main" id="{8C5653FB-0B55-DF49-89A0-7BB644B8BB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13" name="Objeto 12" hidden="1">
                        <a:extLst>
                          <a:ext uri="{FF2B5EF4-FFF2-40B4-BE49-F238E27FC236}">
                            <a16:creationId xmlns="" xmlns:a16="http://schemas.microsoft.com/office/drawing/2014/main" id="{8C5653FB-0B55-DF49-89A0-7BB644B8BB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3978333C-7507-9031-20FB-A4008EE623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916" y="747271"/>
            <a:ext cx="3733124" cy="1284729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Título Arial</a:t>
            </a:r>
            <a:br>
              <a:rPr lang="es-ES" dirty="0"/>
            </a:br>
            <a:r>
              <a:rPr lang="es-ES" dirty="0"/>
              <a:t>40 puntos</a:t>
            </a:r>
            <a:endParaRPr lang="es-CL" dirty="0"/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C4D46A67-F299-766E-9BB6-1ADEC7FB26E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359129" y="2897348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AAF2811A-08D5-387F-FDB1-55A4B69B06C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359127" y="3429000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EB39A987-683D-9D36-91F6-E2CFA93EF42C}"/>
              </a:ext>
            </a:extLst>
          </p:cNvPr>
          <p:cNvCxnSpPr>
            <a:cxnSpLocks/>
          </p:cNvCxnSpPr>
          <p:nvPr userDrawn="1"/>
        </p:nvCxnSpPr>
        <p:spPr>
          <a:xfrm>
            <a:off x="6359127" y="4794422"/>
            <a:ext cx="583287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CC11910E-7802-190C-8172-59CD358D125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359129" y="747272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24" name="Marcador de texto 7">
            <a:extLst>
              <a:ext uri="{FF2B5EF4-FFF2-40B4-BE49-F238E27FC236}">
                <a16:creationId xmlns="" xmlns:a16="http://schemas.microsoft.com/office/drawing/2014/main" id="{7DA5667F-22FC-3BA9-6888-7B08F0BABC5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359127" y="1278924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80F45604-88D7-0389-F6F0-4F7F3717C6B4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359129" y="5121564"/>
            <a:ext cx="3940458" cy="5043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Bold 16</a:t>
            </a:r>
            <a:endParaRPr lang="es-CL" dirty="0"/>
          </a:p>
        </p:txBody>
      </p:sp>
      <p:sp>
        <p:nvSpPr>
          <p:cNvPr id="27" name="Marcador de texto 7">
            <a:extLst>
              <a:ext uri="{FF2B5EF4-FFF2-40B4-BE49-F238E27FC236}">
                <a16:creationId xmlns="" xmlns:a16="http://schemas.microsoft.com/office/drawing/2014/main" id="{FA076D8B-DCE0-E493-F1BC-D55FBC50384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359127" y="5653216"/>
            <a:ext cx="3940459" cy="103966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Arial 14</a:t>
            </a:r>
            <a:endParaRPr lang="es-CL" dirty="0"/>
          </a:p>
        </p:txBody>
      </p:sp>
      <p:cxnSp>
        <p:nvCxnSpPr>
          <p:cNvPr id="34" name="Straight Connector 33">
            <a:extLst>
              <a:ext uri="{FF2B5EF4-FFF2-40B4-BE49-F238E27FC236}">
                <a16:creationId xmlns="" xmlns:a16="http://schemas.microsoft.com/office/drawing/2014/main" id="{9D20BB05-D91B-DA0A-EC81-79B99DB4AB72}"/>
              </a:ext>
            </a:extLst>
          </p:cNvPr>
          <p:cNvCxnSpPr>
            <a:cxnSpLocks/>
          </p:cNvCxnSpPr>
          <p:nvPr userDrawn="1"/>
        </p:nvCxnSpPr>
        <p:spPr>
          <a:xfrm>
            <a:off x="6359127" y="2626955"/>
            <a:ext cx="583287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Marcador de pie de página 2"/>
          <p:cNvSpPr>
            <a:spLocks noGrp="1"/>
          </p:cNvSpPr>
          <p:nvPr>
            <p:ph type="ftr" sz="quarter" idx="59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60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204235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774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1997">
          <p15:clr>
            <a:srgbClr val="FBAE40"/>
          </p15:clr>
        </p15:guide>
        <p15:guide id="4" orient="horz" pos="3550">
          <p15:clr>
            <a:srgbClr val="FBAE40"/>
          </p15:clr>
        </p15:guide>
        <p15:guide id="5" orient="horz" pos="1207">
          <p15:clr>
            <a:srgbClr val="FBAE40"/>
          </p15:clr>
        </p15:guide>
        <p15:guide id="6" orient="horz" pos="2160">
          <p15:clr>
            <a:srgbClr val="FBAE40"/>
          </p15:clr>
        </p15:guide>
        <p15:guide id="7" orient="horz" pos="1139">
          <p15:clr>
            <a:srgbClr val="FBAE40"/>
          </p15:clr>
        </p15:guide>
        <p15:guide id="8" orient="horz" pos="1915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ortada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posición de imagen 3"/>
          <p:cNvSpPr>
            <a:spLocks noGrp="1"/>
          </p:cNvSpPr>
          <p:nvPr>
            <p:ph type="pic" sz="quarter" idx="18"/>
          </p:nvPr>
        </p:nvSpPr>
        <p:spPr>
          <a:xfrm>
            <a:off x="-1" y="0"/>
            <a:ext cx="10564597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endParaRPr lang="es-CL" dirty="0"/>
          </a:p>
        </p:txBody>
      </p:sp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Marcador de texto 7">
            <a:extLst>
              <a:ext uri="{FF2B5EF4-FFF2-40B4-BE49-F238E27FC236}">
                <a16:creationId xmlns="" xmlns:a16="http://schemas.microsoft.com/office/drawing/2014/main" id="{D7DF378A-026C-4225-AFB3-233ADAFEB27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4085" y="4957143"/>
            <a:ext cx="4989786" cy="11434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</a:t>
            </a:r>
            <a:br>
              <a:rPr lang="es-ES" dirty="0"/>
            </a:br>
            <a:r>
              <a:rPr lang="es-ES" dirty="0"/>
              <a:t>Arial Bold - 30 puntos</a:t>
            </a:r>
            <a:endParaRPr lang="es-CL" dirty="0"/>
          </a:p>
        </p:txBody>
      </p:sp>
      <p:pic>
        <p:nvPicPr>
          <p:cNvPr id="3" name="Gráfico 2">
            <a:extLst>
              <a:ext uri="{FF2B5EF4-FFF2-40B4-BE49-F238E27FC236}">
                <a16:creationId xmlns="" xmlns:a16="http://schemas.microsoft.com/office/drawing/2014/main" id="{6684D6C2-8FED-B52F-0DE2-7AC39638A0F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884657" y="407975"/>
            <a:ext cx="987281" cy="1557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89799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pos="6652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=""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8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=""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ítulo 9">
            <a:extLst>
              <a:ext uri="{FF2B5EF4-FFF2-40B4-BE49-F238E27FC236}">
                <a16:creationId xmlns=""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r>
              <a:rPr lang="es-ES" dirty="0"/>
              <a:t/>
            </a:r>
            <a:br>
              <a:rPr lang="es-ES" dirty="0"/>
            </a:br>
            <a:endParaRPr lang="es-CL" dirty="0"/>
          </a:p>
        </p:txBody>
      </p:sp>
      <p:cxnSp>
        <p:nvCxnSpPr>
          <p:cNvPr id="46" name="28 Conector recto">
            <a:extLst>
              <a:ext uri="{FF2B5EF4-FFF2-40B4-BE49-F238E27FC236}">
                <a16:creationId xmlns="" xmlns:a16="http://schemas.microsoft.com/office/drawing/2014/main" id="{17E974FC-33F2-C9C0-C672-3359CE6E57DA}"/>
              </a:ext>
            </a:extLst>
          </p:cNvPr>
          <p:cNvCxnSpPr>
            <a:cxnSpLocks/>
          </p:cNvCxnSpPr>
          <p:nvPr userDrawn="1"/>
        </p:nvCxnSpPr>
        <p:spPr>
          <a:xfrm>
            <a:off x="9044050" y="1557338"/>
            <a:ext cx="2694123" cy="0"/>
          </a:xfrm>
          <a:prstGeom prst="line">
            <a:avLst/>
          </a:prstGeom>
          <a:ln w="63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Marcador de texto 49">
            <a:extLst>
              <a:ext uri="{FF2B5EF4-FFF2-40B4-BE49-F238E27FC236}">
                <a16:creationId xmlns="" xmlns:a16="http://schemas.microsoft.com/office/drawing/2014/main" id="{65C59AB4-EB1B-910E-6161-60B72778EAD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27807" y="1557338"/>
            <a:ext cx="2673350" cy="1351948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61" name="Marcador de texto 49">
            <a:extLst>
              <a:ext uri="{FF2B5EF4-FFF2-40B4-BE49-F238E27FC236}">
                <a16:creationId xmlns="" xmlns:a16="http://schemas.microsoft.com/office/drawing/2014/main" id="{4CEB7449-A855-A744-2297-5979CA01634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27807" y="3182983"/>
            <a:ext cx="2673350" cy="1351948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62" name="Marcador de texto 49">
            <a:extLst>
              <a:ext uri="{FF2B5EF4-FFF2-40B4-BE49-F238E27FC236}">
                <a16:creationId xmlns="" xmlns:a16="http://schemas.microsoft.com/office/drawing/2014/main" id="{B66DFA7E-7D5B-0238-9B03-786291CC29B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27807" y="4808628"/>
            <a:ext cx="2673350" cy="1351948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63" name="Marcador de texto 49">
            <a:extLst>
              <a:ext uri="{FF2B5EF4-FFF2-40B4-BE49-F238E27FC236}">
                <a16:creationId xmlns="" xmlns:a16="http://schemas.microsoft.com/office/drawing/2014/main" id="{8D23CBBE-52F5-9B12-B294-878C4299DA7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6198" y="3182983"/>
            <a:ext cx="2673350" cy="1351948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64" name="Marcador de texto 49">
            <a:extLst>
              <a:ext uri="{FF2B5EF4-FFF2-40B4-BE49-F238E27FC236}">
                <a16:creationId xmlns="" xmlns:a16="http://schemas.microsoft.com/office/drawing/2014/main" id="{764CEE0A-8B73-3992-6679-F38F1F1DE9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89416" y="1557338"/>
            <a:ext cx="2673350" cy="1351948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65" name="Marcador de texto 49">
            <a:extLst>
              <a:ext uri="{FF2B5EF4-FFF2-40B4-BE49-F238E27FC236}">
                <a16:creationId xmlns="" xmlns:a16="http://schemas.microsoft.com/office/drawing/2014/main" id="{F9B072E7-2728-AC8E-B295-70399B4A33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89416" y="3182983"/>
            <a:ext cx="2673350" cy="1351948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66" name="Marcador de texto 49">
            <a:extLst>
              <a:ext uri="{FF2B5EF4-FFF2-40B4-BE49-F238E27FC236}">
                <a16:creationId xmlns="" xmlns:a16="http://schemas.microsoft.com/office/drawing/2014/main" id="{3A25178A-DBEE-DFC4-D7BB-76092A78130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89416" y="4808628"/>
            <a:ext cx="2673350" cy="1351948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70" name="Marcador de gráfico 69">
            <a:extLst>
              <a:ext uri="{FF2B5EF4-FFF2-40B4-BE49-F238E27FC236}">
                <a16:creationId xmlns="" xmlns:a16="http://schemas.microsoft.com/office/drawing/2014/main" id="{AD4783C1-4989-01EE-0D03-80854F12E165}"/>
              </a:ext>
            </a:extLst>
          </p:cNvPr>
          <p:cNvSpPr>
            <a:spLocks noGrp="1"/>
          </p:cNvSpPr>
          <p:nvPr>
            <p:ph type="chart" sz="quarter" idx="20"/>
          </p:nvPr>
        </p:nvSpPr>
        <p:spPr>
          <a:xfrm>
            <a:off x="607543" y="3423652"/>
            <a:ext cx="2390660" cy="955675"/>
          </a:xfrm>
        </p:spPr>
        <p:txBody>
          <a:bodyPr/>
          <a:lstStyle/>
          <a:p>
            <a:endParaRPr lang="es-CL" dirty="0"/>
          </a:p>
        </p:txBody>
      </p:sp>
      <p:sp>
        <p:nvSpPr>
          <p:cNvPr id="71" name="Marcador de texto 49">
            <a:extLst>
              <a:ext uri="{FF2B5EF4-FFF2-40B4-BE49-F238E27FC236}">
                <a16:creationId xmlns="" xmlns:a16="http://schemas.microsoft.com/office/drawing/2014/main" id="{E92E4CC6-CD15-8A63-0189-506371F9044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61411" y="1323167"/>
            <a:ext cx="2673350" cy="234292"/>
          </a:xfrm>
          <a:noFill/>
        </p:spPr>
        <p:txBody>
          <a:bodyPr>
            <a:no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73" name="Marcador de texto 49">
            <a:extLst>
              <a:ext uri="{FF2B5EF4-FFF2-40B4-BE49-F238E27FC236}">
                <a16:creationId xmlns="" xmlns:a16="http://schemas.microsoft.com/office/drawing/2014/main" id="{227F04DF-FF13-1B7B-6980-D1476CA9042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59961" y="1557338"/>
            <a:ext cx="2674800" cy="4602056"/>
          </a:xfrm>
          <a:noFill/>
        </p:spPr>
        <p:txBody>
          <a:bodyPr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2" name="Marcador de texto 49">
            <a:extLst>
              <a:ext uri="{FF2B5EF4-FFF2-40B4-BE49-F238E27FC236}">
                <a16:creationId xmlns="" xmlns:a16="http://schemas.microsoft.com/office/drawing/2014/main" id="{575D903E-9997-F823-2239-6D56BF5AF4D2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466198" y="4628667"/>
            <a:ext cx="287997" cy="225206"/>
          </a:xfrm>
          <a:solidFill>
            <a:schemeClr val="bg2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sz="1200" b="1"/>
            </a:lvl1pPr>
          </a:lstStyle>
          <a:p>
            <a:pPr lvl="0"/>
            <a:r>
              <a:rPr lang="es-ES" dirty="0"/>
              <a:t>  </a:t>
            </a:r>
          </a:p>
        </p:txBody>
      </p:sp>
      <p:sp>
        <p:nvSpPr>
          <p:cNvPr id="3" name="Marcador de texto 49">
            <a:extLst>
              <a:ext uri="{FF2B5EF4-FFF2-40B4-BE49-F238E27FC236}">
                <a16:creationId xmlns="" xmlns:a16="http://schemas.microsoft.com/office/drawing/2014/main" id="{5A2286CE-A375-62A1-4841-BAF1DF07D6E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466198" y="4948264"/>
            <a:ext cx="287997" cy="225206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>
              <a:buNone/>
              <a:defRPr sz="1200" b="1"/>
            </a:lvl1pPr>
          </a:lstStyle>
          <a:p>
            <a:pPr lvl="0"/>
            <a:r>
              <a:rPr lang="es-ES" dirty="0"/>
              <a:t>  </a:t>
            </a:r>
          </a:p>
        </p:txBody>
      </p:sp>
      <p:sp>
        <p:nvSpPr>
          <p:cNvPr id="4" name="Marcador de texto 49">
            <a:extLst>
              <a:ext uri="{FF2B5EF4-FFF2-40B4-BE49-F238E27FC236}">
                <a16:creationId xmlns="" xmlns:a16="http://schemas.microsoft.com/office/drawing/2014/main" id="{486C3E63-6CDB-A6E3-D4BD-5C80CB4D560A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15538" y="4628667"/>
            <a:ext cx="2324010" cy="225206"/>
          </a:xfrm>
          <a:noFill/>
        </p:spPr>
        <p:txBody>
          <a:bodyPr anchor="ctr">
            <a:no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5" name="Marcador de texto 49">
            <a:extLst>
              <a:ext uri="{FF2B5EF4-FFF2-40B4-BE49-F238E27FC236}">
                <a16:creationId xmlns="" xmlns:a16="http://schemas.microsoft.com/office/drawing/2014/main" id="{5C8D17A8-879B-2B22-CC0A-63E09D60494D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815538" y="4948264"/>
            <a:ext cx="2324010" cy="225206"/>
          </a:xfrm>
          <a:noFill/>
        </p:spPr>
        <p:txBody>
          <a:bodyPr anchor="ctr">
            <a:no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59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60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20509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=""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2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=""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sp>
        <p:nvSpPr>
          <p:cNvPr id="39" name="Marcador de texto 34">
            <a:extLst>
              <a:ext uri="{FF2B5EF4-FFF2-40B4-BE49-F238E27FC236}">
                <a16:creationId xmlns="" xmlns:a16="http://schemas.microsoft.com/office/drawing/2014/main" id="{54260D41-C7E4-30CE-4873-5F856A836A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57514" y="1614365"/>
            <a:ext cx="7383748" cy="360000"/>
          </a:xfrm>
          <a:solidFill>
            <a:schemeClr val="tx2"/>
          </a:solidFill>
        </p:spPr>
        <p:txBody>
          <a:bodyPr lIns="360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40" name="Marcador de texto 31">
            <a:extLst>
              <a:ext uri="{FF2B5EF4-FFF2-40B4-BE49-F238E27FC236}">
                <a16:creationId xmlns="" xmlns:a16="http://schemas.microsoft.com/office/drawing/2014/main" id="{270DEEBE-1143-EA9A-3500-A5C7B5DA4E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78920" y="1617177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42" name="Marcador de texto 49">
            <a:extLst>
              <a:ext uri="{FF2B5EF4-FFF2-40B4-BE49-F238E27FC236}">
                <a16:creationId xmlns="" xmlns:a16="http://schemas.microsoft.com/office/drawing/2014/main" id="{EF76D1EF-4B7A-1EF1-D0B5-EC99EEDF289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154195" y="2096444"/>
            <a:ext cx="7087066" cy="524496"/>
          </a:xfrm>
          <a:noFill/>
        </p:spPr>
        <p:txBody>
          <a:bodyPr anchor="t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43" name="Marcador de texto 34">
            <a:extLst>
              <a:ext uri="{FF2B5EF4-FFF2-40B4-BE49-F238E27FC236}">
                <a16:creationId xmlns="" xmlns:a16="http://schemas.microsoft.com/office/drawing/2014/main" id="{CEBB605A-2901-A563-041E-CD22DC6509C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57514" y="3208541"/>
            <a:ext cx="7383748" cy="360000"/>
          </a:xfrm>
          <a:solidFill>
            <a:schemeClr val="tx2"/>
          </a:solidFill>
        </p:spPr>
        <p:txBody>
          <a:bodyPr lIns="360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44" name="Marcador de texto 31">
            <a:extLst>
              <a:ext uri="{FF2B5EF4-FFF2-40B4-BE49-F238E27FC236}">
                <a16:creationId xmlns="" xmlns:a16="http://schemas.microsoft.com/office/drawing/2014/main" id="{A0EBDC63-CF68-9C5C-1FE0-979E86DC66C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678920" y="3211353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45" name="Marcador de texto 49">
            <a:extLst>
              <a:ext uri="{FF2B5EF4-FFF2-40B4-BE49-F238E27FC236}">
                <a16:creationId xmlns="" xmlns:a16="http://schemas.microsoft.com/office/drawing/2014/main" id="{DFB45C69-9237-7502-2F0E-6C4965F7706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154195" y="3690620"/>
            <a:ext cx="7087066" cy="524496"/>
          </a:xfrm>
          <a:noFill/>
        </p:spPr>
        <p:txBody>
          <a:bodyPr anchor="t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46" name="Marcador de texto 34">
            <a:extLst>
              <a:ext uri="{FF2B5EF4-FFF2-40B4-BE49-F238E27FC236}">
                <a16:creationId xmlns="" xmlns:a16="http://schemas.microsoft.com/office/drawing/2014/main" id="{E7AFF7E1-CE70-256E-B1FD-367171882CA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857514" y="4889858"/>
            <a:ext cx="7383748" cy="360000"/>
          </a:xfrm>
          <a:solidFill>
            <a:schemeClr val="tx2"/>
          </a:solidFill>
        </p:spPr>
        <p:txBody>
          <a:bodyPr lIns="360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47" name="Marcador de texto 31">
            <a:extLst>
              <a:ext uri="{FF2B5EF4-FFF2-40B4-BE49-F238E27FC236}">
                <a16:creationId xmlns="" xmlns:a16="http://schemas.microsoft.com/office/drawing/2014/main" id="{5B730CF1-E63F-93AF-0411-16DD50A5BB9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678920" y="4892670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48" name="Marcador de texto 49">
            <a:extLst>
              <a:ext uri="{FF2B5EF4-FFF2-40B4-BE49-F238E27FC236}">
                <a16:creationId xmlns="" xmlns:a16="http://schemas.microsoft.com/office/drawing/2014/main" id="{709655F6-925F-1171-7427-F6BB0CE1115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54195" y="5371937"/>
            <a:ext cx="7087066" cy="524496"/>
          </a:xfrm>
          <a:noFill/>
        </p:spPr>
        <p:txBody>
          <a:bodyPr anchor="t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49" name="Marcador de texto 49">
            <a:extLst>
              <a:ext uri="{FF2B5EF4-FFF2-40B4-BE49-F238E27FC236}">
                <a16:creationId xmlns="" xmlns:a16="http://schemas.microsoft.com/office/drawing/2014/main" id="{42E1B947-66E3-6C9A-AD76-1071AA9F3BF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7578" y="1304925"/>
            <a:ext cx="2010487" cy="4860925"/>
          </a:xfrm>
          <a:solidFill>
            <a:schemeClr val="tx2"/>
          </a:solidFill>
        </p:spPr>
        <p:txBody>
          <a:bodyPr anchor="t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915609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=""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6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=""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ítulo 9">
            <a:extLst>
              <a:ext uri="{FF2B5EF4-FFF2-40B4-BE49-F238E27FC236}">
                <a16:creationId xmlns=""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r>
              <a:rPr lang="es-ES" dirty="0"/>
              <a:t/>
            </a:r>
            <a:br>
              <a:rPr lang="es-ES" dirty="0"/>
            </a:br>
            <a:endParaRPr lang="es-CL" dirty="0"/>
          </a:p>
        </p:txBody>
      </p:sp>
      <p:sp>
        <p:nvSpPr>
          <p:cNvPr id="24" name="Marcador de texto 34">
            <a:extLst>
              <a:ext uri="{FF2B5EF4-FFF2-40B4-BE49-F238E27FC236}">
                <a16:creationId xmlns="" xmlns:a16="http://schemas.microsoft.com/office/drawing/2014/main" id="{D3FED2ED-68EA-2514-B9F2-137CE0FBEF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7578" y="1724070"/>
            <a:ext cx="1964755" cy="842149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5" name="Marcador de texto 34">
            <a:extLst>
              <a:ext uri="{FF2B5EF4-FFF2-40B4-BE49-F238E27FC236}">
                <a16:creationId xmlns="" xmlns:a16="http://schemas.microsoft.com/office/drawing/2014/main" id="{FC417ABA-4D17-F30A-3CED-EF43519DF69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650003" y="1724071"/>
            <a:ext cx="8098337" cy="330871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8" name="Marcador de texto 34">
            <a:extLst>
              <a:ext uri="{FF2B5EF4-FFF2-40B4-BE49-F238E27FC236}">
                <a16:creationId xmlns="" xmlns:a16="http://schemas.microsoft.com/office/drawing/2014/main" id="{1E6897B5-047B-7914-25A0-1BB2AC3CEFC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650003" y="2225517"/>
            <a:ext cx="8098337" cy="330871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9" name="Marcador de texto 34">
            <a:extLst>
              <a:ext uri="{FF2B5EF4-FFF2-40B4-BE49-F238E27FC236}">
                <a16:creationId xmlns="" xmlns:a16="http://schemas.microsoft.com/office/drawing/2014/main" id="{D8C02170-A848-14DC-6890-D9BB4C8D3D2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7578" y="2815451"/>
            <a:ext cx="1964755" cy="842149"/>
          </a:xfrm>
          <a:solidFill>
            <a:schemeClr val="tx2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0" name="Marcador de texto 34">
            <a:extLst>
              <a:ext uri="{FF2B5EF4-FFF2-40B4-BE49-F238E27FC236}">
                <a16:creationId xmlns="" xmlns:a16="http://schemas.microsoft.com/office/drawing/2014/main" id="{2B1D595A-2D1E-C8E8-7298-219AF32DE95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0003" y="2815452"/>
            <a:ext cx="8098337" cy="330871"/>
          </a:xfrm>
          <a:solidFill>
            <a:schemeClr val="tx2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1" name="Marcador de texto 34">
            <a:extLst>
              <a:ext uri="{FF2B5EF4-FFF2-40B4-BE49-F238E27FC236}">
                <a16:creationId xmlns="" xmlns:a16="http://schemas.microsoft.com/office/drawing/2014/main" id="{44B13F70-4330-4D83-AFC6-7BE57EFD86A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650003" y="3316898"/>
            <a:ext cx="8098337" cy="330871"/>
          </a:xfrm>
          <a:solidFill>
            <a:schemeClr val="tx2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41" name="Marcador de texto 34">
            <a:extLst>
              <a:ext uri="{FF2B5EF4-FFF2-40B4-BE49-F238E27FC236}">
                <a16:creationId xmlns="" xmlns:a16="http://schemas.microsoft.com/office/drawing/2014/main" id="{F58EA09C-FF04-D370-6DC3-6F54C2578A4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7578" y="3936328"/>
            <a:ext cx="1964755" cy="842149"/>
          </a:xfrm>
          <a:solidFill>
            <a:schemeClr val="tx2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42" name="Marcador de texto 34">
            <a:extLst>
              <a:ext uri="{FF2B5EF4-FFF2-40B4-BE49-F238E27FC236}">
                <a16:creationId xmlns="" xmlns:a16="http://schemas.microsoft.com/office/drawing/2014/main" id="{89E1D36B-B1C8-B29F-41B3-BADA1606726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650003" y="3936329"/>
            <a:ext cx="8098337" cy="330871"/>
          </a:xfrm>
          <a:solidFill>
            <a:schemeClr val="tx2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43" name="Marcador de texto 34">
            <a:extLst>
              <a:ext uri="{FF2B5EF4-FFF2-40B4-BE49-F238E27FC236}">
                <a16:creationId xmlns="" xmlns:a16="http://schemas.microsoft.com/office/drawing/2014/main" id="{3C9E6747-A8D8-BCEB-C54E-F8B5C0BFAB1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650003" y="4437775"/>
            <a:ext cx="8098337" cy="330871"/>
          </a:xfrm>
          <a:solidFill>
            <a:schemeClr val="tx2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44" name="Marcador de texto 34">
            <a:extLst>
              <a:ext uri="{FF2B5EF4-FFF2-40B4-BE49-F238E27FC236}">
                <a16:creationId xmlns="" xmlns:a16="http://schemas.microsoft.com/office/drawing/2014/main" id="{4E817DF5-9FAF-CD74-138D-074948AD1EA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7578" y="5027709"/>
            <a:ext cx="1964755" cy="842149"/>
          </a:xfrm>
          <a:solidFill>
            <a:schemeClr val="tx2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45" name="Marcador de texto 34">
            <a:extLst>
              <a:ext uri="{FF2B5EF4-FFF2-40B4-BE49-F238E27FC236}">
                <a16:creationId xmlns="" xmlns:a16="http://schemas.microsoft.com/office/drawing/2014/main" id="{0F1C697D-41E0-C8E2-8472-73A20CD23D4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650003" y="5027710"/>
            <a:ext cx="8098337" cy="330871"/>
          </a:xfrm>
          <a:solidFill>
            <a:schemeClr val="tx2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46" name="Marcador de texto 34">
            <a:extLst>
              <a:ext uri="{FF2B5EF4-FFF2-40B4-BE49-F238E27FC236}">
                <a16:creationId xmlns="" xmlns:a16="http://schemas.microsoft.com/office/drawing/2014/main" id="{3335E92C-B5CE-9004-644D-DFC87A2FB46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650003" y="5529156"/>
            <a:ext cx="8098337" cy="330871"/>
          </a:xfrm>
          <a:solidFill>
            <a:schemeClr val="tx2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" name="Marcador de pie de página 1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27" name="Marcador de texto 49">
            <a:extLst>
              <a:ext uri="{FF2B5EF4-FFF2-40B4-BE49-F238E27FC236}">
                <a16:creationId xmlns="" xmlns:a16="http://schemas.microsoft.com/office/drawing/2014/main" id="{A2C8F08A-5581-007E-062D-4AE64E25E91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7578" y="1328808"/>
            <a:ext cx="1964754" cy="219443"/>
          </a:xfrm>
          <a:noFill/>
        </p:spPr>
        <p:txBody>
          <a:bodyPr>
            <a:noAutofit/>
          </a:bodyPr>
          <a:lstStyle>
            <a:lvl1pPr marL="0" indent="0">
              <a:buNone/>
              <a:defRPr sz="13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32" name="Marcador de texto 49">
            <a:extLst>
              <a:ext uri="{FF2B5EF4-FFF2-40B4-BE49-F238E27FC236}">
                <a16:creationId xmlns="" xmlns:a16="http://schemas.microsoft.com/office/drawing/2014/main" id="{B1E462D8-2796-1E4A-955E-374B96D09A5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650003" y="1328808"/>
            <a:ext cx="2104509" cy="219443"/>
          </a:xfrm>
          <a:noFill/>
        </p:spPr>
        <p:txBody>
          <a:bodyPr>
            <a:noAutofit/>
          </a:bodyPr>
          <a:lstStyle>
            <a:lvl1pPr marL="0" indent="0">
              <a:buNone/>
              <a:defRPr sz="1300" b="1"/>
            </a:lvl1pPr>
          </a:lstStyle>
          <a:p>
            <a:pPr lvl="0"/>
            <a:r>
              <a:rPr lang="es-ES" dirty="0"/>
              <a:t>Texto</a:t>
            </a:r>
          </a:p>
        </p:txBody>
      </p:sp>
    </p:spTree>
    <p:extLst>
      <p:ext uri="{BB962C8B-B14F-4D97-AF65-F5344CB8AC3E}">
        <p14:creationId xmlns:p14="http://schemas.microsoft.com/office/powerpoint/2010/main" val="231642330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=""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0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=""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cxnSp>
        <p:nvCxnSpPr>
          <p:cNvPr id="27" name="28 Conector recto">
            <a:extLst>
              <a:ext uri="{FF2B5EF4-FFF2-40B4-BE49-F238E27FC236}">
                <a16:creationId xmlns="" xmlns:a16="http://schemas.microsoft.com/office/drawing/2014/main" id="{7C2338FF-14EA-817D-87DC-28AD2B96B0CD}"/>
              </a:ext>
            </a:extLst>
          </p:cNvPr>
          <p:cNvCxnSpPr>
            <a:cxnSpLocks/>
          </p:cNvCxnSpPr>
          <p:nvPr userDrawn="1"/>
        </p:nvCxnSpPr>
        <p:spPr>
          <a:xfrm>
            <a:off x="447578" y="1543924"/>
            <a:ext cx="7606658" cy="0"/>
          </a:xfrm>
          <a:prstGeom prst="line">
            <a:avLst/>
          </a:prstGeom>
          <a:ln w="63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Marcador de texto 49">
            <a:extLst>
              <a:ext uri="{FF2B5EF4-FFF2-40B4-BE49-F238E27FC236}">
                <a16:creationId xmlns="" xmlns:a16="http://schemas.microsoft.com/office/drawing/2014/main" id="{E05734F2-CED4-8924-A343-49E26EF86A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7579" y="1676277"/>
            <a:ext cx="1999060" cy="526252"/>
          </a:xfrm>
          <a:prstGeom prst="homePlate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32" name="Marcador de texto 49">
            <a:extLst>
              <a:ext uri="{FF2B5EF4-FFF2-40B4-BE49-F238E27FC236}">
                <a16:creationId xmlns="" xmlns:a16="http://schemas.microsoft.com/office/drawing/2014/main" id="{8FC76D54-EED4-75EA-2F7D-11A14BC405D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47579" y="2466295"/>
            <a:ext cx="1999060" cy="526252"/>
          </a:xfrm>
          <a:prstGeom prst="homePlate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33" name="Marcador de texto 49">
            <a:extLst>
              <a:ext uri="{FF2B5EF4-FFF2-40B4-BE49-F238E27FC236}">
                <a16:creationId xmlns="" xmlns:a16="http://schemas.microsoft.com/office/drawing/2014/main" id="{3505BCEB-9E33-3B35-0374-A3B0CF96007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7579" y="3258947"/>
            <a:ext cx="1999060" cy="526252"/>
          </a:xfrm>
          <a:prstGeom prst="homePlate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34" name="Marcador de texto 49">
            <a:extLst>
              <a:ext uri="{FF2B5EF4-FFF2-40B4-BE49-F238E27FC236}">
                <a16:creationId xmlns="" xmlns:a16="http://schemas.microsoft.com/office/drawing/2014/main" id="{288C4292-B6DD-013E-3D47-0F7C2ED05AA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7579" y="4048965"/>
            <a:ext cx="1999060" cy="526252"/>
          </a:xfrm>
          <a:prstGeom prst="homePlate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35" name="Marcador de texto 49">
            <a:extLst>
              <a:ext uri="{FF2B5EF4-FFF2-40B4-BE49-F238E27FC236}">
                <a16:creationId xmlns="" xmlns:a16="http://schemas.microsoft.com/office/drawing/2014/main" id="{67352EFF-57E4-1068-B717-A2AE8FDBC1A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7579" y="4838983"/>
            <a:ext cx="1999060" cy="526252"/>
          </a:xfrm>
          <a:prstGeom prst="homePlate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36" name="Marcador de texto 49">
            <a:extLst>
              <a:ext uri="{FF2B5EF4-FFF2-40B4-BE49-F238E27FC236}">
                <a16:creationId xmlns="" xmlns:a16="http://schemas.microsoft.com/office/drawing/2014/main" id="{EDC46FD0-0231-1AF6-74CB-0E80FEFC7A3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7579" y="5628999"/>
            <a:ext cx="1999060" cy="526252"/>
          </a:xfrm>
          <a:prstGeom prst="homePlate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40" name="Marcador de texto 49">
            <a:extLst>
              <a:ext uri="{FF2B5EF4-FFF2-40B4-BE49-F238E27FC236}">
                <a16:creationId xmlns="" xmlns:a16="http://schemas.microsoft.com/office/drawing/2014/main" id="{27C0CCB8-FC2B-04DE-8EA2-891488D4406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51025" y="1538471"/>
            <a:ext cx="2673350" cy="4620923"/>
          </a:xfrm>
          <a:noFill/>
        </p:spPr>
        <p:txBody>
          <a:bodyPr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</a:p>
        </p:txBody>
      </p:sp>
      <p:pic>
        <p:nvPicPr>
          <p:cNvPr id="42" name="Imagen 41">
            <a:extLst>
              <a:ext uri="{FF2B5EF4-FFF2-40B4-BE49-F238E27FC236}">
                <a16:creationId xmlns="" xmlns:a16="http://schemas.microsoft.com/office/drawing/2014/main" id="{D9C29C8D-FCDA-A370-6DCD-03A8D289E8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r="11760"/>
          <a:stretch/>
        </p:blipFill>
        <p:spPr>
          <a:xfrm>
            <a:off x="8234812" y="3140458"/>
            <a:ext cx="625321" cy="1171633"/>
          </a:xfrm>
          <a:prstGeom prst="rect">
            <a:avLst/>
          </a:prstGeom>
          <a:solidFill>
            <a:schemeClr val="tx2"/>
          </a:solidFill>
        </p:spPr>
      </p:pic>
      <p:sp>
        <p:nvSpPr>
          <p:cNvPr id="46" name="Marcador de texto 49">
            <a:extLst>
              <a:ext uri="{FF2B5EF4-FFF2-40B4-BE49-F238E27FC236}">
                <a16:creationId xmlns="" xmlns:a16="http://schemas.microsoft.com/office/drawing/2014/main" id="{E87D6ED8-C300-9A48-0B0F-EE18C324D39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662582" y="2468051"/>
            <a:ext cx="5391653" cy="524496"/>
          </a:xfrm>
          <a:noFill/>
        </p:spPr>
        <p:txBody>
          <a:bodyPr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47" name="Marcador de texto 49">
            <a:extLst>
              <a:ext uri="{FF2B5EF4-FFF2-40B4-BE49-F238E27FC236}">
                <a16:creationId xmlns="" xmlns:a16="http://schemas.microsoft.com/office/drawing/2014/main" id="{2BE26540-2188-2C21-582F-F962681DFC4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662582" y="1678911"/>
            <a:ext cx="5391653" cy="524496"/>
          </a:xfrm>
          <a:noFill/>
        </p:spPr>
        <p:txBody>
          <a:bodyPr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48" name="Marcador de texto 49">
            <a:extLst>
              <a:ext uri="{FF2B5EF4-FFF2-40B4-BE49-F238E27FC236}">
                <a16:creationId xmlns="" xmlns:a16="http://schemas.microsoft.com/office/drawing/2014/main" id="{C61D23D2-F540-A494-1982-6F9C066B71E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662582" y="4046330"/>
            <a:ext cx="5391653" cy="524496"/>
          </a:xfrm>
          <a:noFill/>
        </p:spPr>
        <p:txBody>
          <a:bodyPr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49" name="Marcador de texto 49">
            <a:extLst>
              <a:ext uri="{FF2B5EF4-FFF2-40B4-BE49-F238E27FC236}">
                <a16:creationId xmlns="" xmlns:a16="http://schemas.microsoft.com/office/drawing/2014/main" id="{3D7B4374-5F06-4775-3250-01DEA4323E4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662582" y="3257190"/>
            <a:ext cx="5391653" cy="524496"/>
          </a:xfrm>
          <a:noFill/>
        </p:spPr>
        <p:txBody>
          <a:bodyPr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50" name="Marcador de texto 49">
            <a:extLst>
              <a:ext uri="{FF2B5EF4-FFF2-40B4-BE49-F238E27FC236}">
                <a16:creationId xmlns="" xmlns:a16="http://schemas.microsoft.com/office/drawing/2014/main" id="{0D26AE7A-DFD2-9007-3969-9D0341D277A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662582" y="5624610"/>
            <a:ext cx="5391653" cy="524496"/>
          </a:xfrm>
          <a:noFill/>
        </p:spPr>
        <p:txBody>
          <a:bodyPr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51" name="Marcador de texto 49">
            <a:extLst>
              <a:ext uri="{FF2B5EF4-FFF2-40B4-BE49-F238E27FC236}">
                <a16:creationId xmlns="" xmlns:a16="http://schemas.microsoft.com/office/drawing/2014/main" id="{F59C4BB5-8F40-671F-252D-24802B07989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662582" y="4835470"/>
            <a:ext cx="5391653" cy="524496"/>
          </a:xfrm>
          <a:noFill/>
        </p:spPr>
        <p:txBody>
          <a:bodyPr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31" name="Marcador de texto 49">
            <a:extLst>
              <a:ext uri="{FF2B5EF4-FFF2-40B4-BE49-F238E27FC236}">
                <a16:creationId xmlns="" xmlns:a16="http://schemas.microsoft.com/office/drawing/2014/main" id="{A2C8F08A-5581-007E-062D-4AE64E25E91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7578" y="1328808"/>
            <a:ext cx="1998000" cy="219443"/>
          </a:xfrm>
          <a:noFill/>
        </p:spPr>
        <p:txBody>
          <a:bodyPr>
            <a:noAutofit/>
          </a:bodyPr>
          <a:lstStyle>
            <a:lvl1pPr marL="0" indent="0">
              <a:buNone/>
              <a:defRPr sz="13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cxnSp>
        <p:nvCxnSpPr>
          <p:cNvPr id="37" name="28 Conector recto">
            <a:extLst>
              <a:ext uri="{FF2B5EF4-FFF2-40B4-BE49-F238E27FC236}">
                <a16:creationId xmlns="" xmlns:a16="http://schemas.microsoft.com/office/drawing/2014/main" id="{17E974FC-33F2-C9C0-C672-3359CE6E57DA}"/>
              </a:ext>
            </a:extLst>
          </p:cNvPr>
          <p:cNvCxnSpPr>
            <a:cxnSpLocks/>
          </p:cNvCxnSpPr>
          <p:nvPr userDrawn="1"/>
        </p:nvCxnSpPr>
        <p:spPr>
          <a:xfrm>
            <a:off x="9044050" y="1557338"/>
            <a:ext cx="2694123" cy="0"/>
          </a:xfrm>
          <a:prstGeom prst="line">
            <a:avLst/>
          </a:prstGeom>
          <a:ln w="63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Marcador de texto 49">
            <a:extLst>
              <a:ext uri="{FF2B5EF4-FFF2-40B4-BE49-F238E27FC236}">
                <a16:creationId xmlns="" xmlns:a16="http://schemas.microsoft.com/office/drawing/2014/main" id="{E92E4CC6-CD15-8A63-0189-506371F9044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061411" y="1323167"/>
            <a:ext cx="2673350" cy="234292"/>
          </a:xfrm>
          <a:noFill/>
        </p:spPr>
        <p:txBody>
          <a:bodyPr>
            <a:noAutofit/>
          </a:bodyPr>
          <a:lstStyle>
            <a:lvl1pPr marL="0" indent="0">
              <a:buNone/>
              <a:defRPr sz="1300" b="1"/>
            </a:lvl1pPr>
          </a:lstStyle>
          <a:p>
            <a:pPr lvl="0"/>
            <a:r>
              <a:rPr lang="es-ES" dirty="0"/>
              <a:t>Texto</a:t>
            </a:r>
          </a:p>
        </p:txBody>
      </p:sp>
    </p:spTree>
    <p:extLst>
      <p:ext uri="{BB962C8B-B14F-4D97-AF65-F5344CB8AC3E}">
        <p14:creationId xmlns:p14="http://schemas.microsoft.com/office/powerpoint/2010/main" val="208992240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=""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4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=""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cxnSp>
        <p:nvCxnSpPr>
          <p:cNvPr id="146" name="28 Conector recto">
            <a:extLst>
              <a:ext uri="{FF2B5EF4-FFF2-40B4-BE49-F238E27FC236}">
                <a16:creationId xmlns="" xmlns:a16="http://schemas.microsoft.com/office/drawing/2014/main" id="{CD9AFF18-1D00-7A0A-2E10-B238816600D2}"/>
              </a:ext>
            </a:extLst>
          </p:cNvPr>
          <p:cNvCxnSpPr>
            <a:cxnSpLocks/>
          </p:cNvCxnSpPr>
          <p:nvPr userDrawn="1"/>
        </p:nvCxnSpPr>
        <p:spPr>
          <a:xfrm>
            <a:off x="442913" y="1548251"/>
            <a:ext cx="8015701" cy="0"/>
          </a:xfrm>
          <a:prstGeom prst="line">
            <a:avLst/>
          </a:prstGeom>
          <a:ln w="63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Marcador de gráfico 150">
            <a:extLst>
              <a:ext uri="{FF2B5EF4-FFF2-40B4-BE49-F238E27FC236}">
                <a16:creationId xmlns="" xmlns:a16="http://schemas.microsoft.com/office/drawing/2014/main" id="{05118DE9-F0E6-8EDC-C655-FBEFD2029434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447674" y="1772089"/>
            <a:ext cx="8015605" cy="4393762"/>
          </a:xfrm>
        </p:spPr>
        <p:txBody>
          <a:bodyPr/>
          <a:lstStyle/>
          <a:p>
            <a:endParaRPr lang="es-CL" dirty="0"/>
          </a:p>
        </p:txBody>
      </p:sp>
      <p:sp>
        <p:nvSpPr>
          <p:cNvPr id="153" name="Marcador de texto 49">
            <a:extLst>
              <a:ext uri="{FF2B5EF4-FFF2-40B4-BE49-F238E27FC236}">
                <a16:creationId xmlns="" xmlns:a16="http://schemas.microsoft.com/office/drawing/2014/main" id="{84A0D9FB-A827-29B3-A8AF-CC075A07AF4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51025" y="1856493"/>
            <a:ext cx="987055" cy="470148"/>
          </a:xfrm>
          <a:noFill/>
        </p:spPr>
        <p:txBody>
          <a:bodyPr anchor="ctr">
            <a:noAutofit/>
          </a:bodyPr>
          <a:lstStyle>
            <a:lvl1pPr marL="0" indent="0" algn="r">
              <a:buNone/>
              <a:defRPr sz="3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 dirty="0"/>
              <a:t>N</a:t>
            </a:r>
          </a:p>
        </p:txBody>
      </p:sp>
      <p:sp>
        <p:nvSpPr>
          <p:cNvPr id="155" name="Marcador de texto 49">
            <a:extLst>
              <a:ext uri="{FF2B5EF4-FFF2-40B4-BE49-F238E27FC236}">
                <a16:creationId xmlns="" xmlns:a16="http://schemas.microsoft.com/office/drawing/2014/main" id="{E0BFBE7D-4676-C06D-3A55-782C4BFBC11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144442" y="1856488"/>
            <a:ext cx="1579933" cy="470147"/>
          </a:xfrm>
          <a:noFill/>
        </p:spPr>
        <p:txBody>
          <a:bodyPr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158" name="Marcador de texto 49">
            <a:extLst>
              <a:ext uri="{FF2B5EF4-FFF2-40B4-BE49-F238E27FC236}">
                <a16:creationId xmlns="" xmlns:a16="http://schemas.microsoft.com/office/drawing/2014/main" id="{63E4258C-2A54-8DE0-E85D-413FC8B848C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051025" y="2760733"/>
            <a:ext cx="987055" cy="470148"/>
          </a:xfrm>
          <a:noFill/>
        </p:spPr>
        <p:txBody>
          <a:bodyPr anchor="ctr">
            <a:noAutofit/>
          </a:bodyPr>
          <a:lstStyle>
            <a:lvl1pPr marL="0" indent="0" algn="r">
              <a:buNone/>
              <a:defRPr sz="3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 dirty="0"/>
              <a:t>N</a:t>
            </a:r>
          </a:p>
        </p:txBody>
      </p:sp>
      <p:sp>
        <p:nvSpPr>
          <p:cNvPr id="159" name="Marcador de texto 49">
            <a:extLst>
              <a:ext uri="{FF2B5EF4-FFF2-40B4-BE49-F238E27FC236}">
                <a16:creationId xmlns="" xmlns:a16="http://schemas.microsoft.com/office/drawing/2014/main" id="{B71F0879-DDEA-DED9-DDCF-BB39B74B6E7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144442" y="2760728"/>
            <a:ext cx="1579933" cy="470147"/>
          </a:xfrm>
          <a:noFill/>
        </p:spPr>
        <p:txBody>
          <a:bodyPr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160" name="Marcador de texto 49">
            <a:extLst>
              <a:ext uri="{FF2B5EF4-FFF2-40B4-BE49-F238E27FC236}">
                <a16:creationId xmlns="" xmlns:a16="http://schemas.microsoft.com/office/drawing/2014/main" id="{D5AA7D63-3309-0336-ECE6-AD0D41559AB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051025" y="3654813"/>
            <a:ext cx="987055" cy="470148"/>
          </a:xfrm>
          <a:noFill/>
        </p:spPr>
        <p:txBody>
          <a:bodyPr anchor="ctr">
            <a:noAutofit/>
          </a:bodyPr>
          <a:lstStyle>
            <a:lvl1pPr marL="0" indent="0" algn="r">
              <a:buNone/>
              <a:defRPr sz="3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 dirty="0"/>
              <a:t>N</a:t>
            </a:r>
          </a:p>
        </p:txBody>
      </p:sp>
      <p:sp>
        <p:nvSpPr>
          <p:cNvPr id="161" name="Marcador de texto 49">
            <a:extLst>
              <a:ext uri="{FF2B5EF4-FFF2-40B4-BE49-F238E27FC236}">
                <a16:creationId xmlns="" xmlns:a16="http://schemas.microsoft.com/office/drawing/2014/main" id="{4F9B9F28-3436-E9BC-C3EC-87DCACB6D8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144442" y="3654808"/>
            <a:ext cx="1579933" cy="470147"/>
          </a:xfrm>
          <a:noFill/>
        </p:spPr>
        <p:txBody>
          <a:bodyPr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162" name="Marcador de texto 49">
            <a:extLst>
              <a:ext uri="{FF2B5EF4-FFF2-40B4-BE49-F238E27FC236}">
                <a16:creationId xmlns="" xmlns:a16="http://schemas.microsoft.com/office/drawing/2014/main" id="{0E1592C8-6918-D2CB-A559-D07AAE05468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051025" y="4559053"/>
            <a:ext cx="987055" cy="470148"/>
          </a:xfrm>
          <a:noFill/>
        </p:spPr>
        <p:txBody>
          <a:bodyPr anchor="ctr">
            <a:noAutofit/>
          </a:bodyPr>
          <a:lstStyle>
            <a:lvl1pPr marL="0" indent="0" algn="r">
              <a:buNone/>
              <a:defRPr sz="3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 dirty="0"/>
              <a:t>N</a:t>
            </a:r>
          </a:p>
        </p:txBody>
      </p:sp>
      <p:sp>
        <p:nvSpPr>
          <p:cNvPr id="163" name="Marcador de texto 49">
            <a:extLst>
              <a:ext uri="{FF2B5EF4-FFF2-40B4-BE49-F238E27FC236}">
                <a16:creationId xmlns="" xmlns:a16="http://schemas.microsoft.com/office/drawing/2014/main" id="{63B870C0-B543-BA7F-A686-1E756AEAFDD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144442" y="4559048"/>
            <a:ext cx="1579933" cy="470147"/>
          </a:xfrm>
          <a:noFill/>
        </p:spPr>
        <p:txBody>
          <a:bodyPr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22" name="Marcador de texto 49">
            <a:extLst>
              <a:ext uri="{FF2B5EF4-FFF2-40B4-BE49-F238E27FC236}">
                <a16:creationId xmlns="" xmlns:a16="http://schemas.microsoft.com/office/drawing/2014/main" id="{A2C8F08A-5581-007E-062D-4AE64E25E91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7578" y="1328808"/>
            <a:ext cx="1998000" cy="219443"/>
          </a:xfrm>
          <a:noFill/>
        </p:spPr>
        <p:txBody>
          <a:bodyPr>
            <a:noAutofit/>
          </a:bodyPr>
          <a:lstStyle>
            <a:lvl1pPr marL="0" indent="0">
              <a:buNone/>
              <a:defRPr sz="13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cxnSp>
        <p:nvCxnSpPr>
          <p:cNvPr id="23" name="28 Conector recto">
            <a:extLst>
              <a:ext uri="{FF2B5EF4-FFF2-40B4-BE49-F238E27FC236}">
                <a16:creationId xmlns="" xmlns:a16="http://schemas.microsoft.com/office/drawing/2014/main" id="{17E974FC-33F2-C9C0-C672-3359CE6E57DA}"/>
              </a:ext>
            </a:extLst>
          </p:cNvPr>
          <p:cNvCxnSpPr>
            <a:cxnSpLocks/>
          </p:cNvCxnSpPr>
          <p:nvPr userDrawn="1"/>
        </p:nvCxnSpPr>
        <p:spPr>
          <a:xfrm>
            <a:off x="9044050" y="1557338"/>
            <a:ext cx="2694123" cy="0"/>
          </a:xfrm>
          <a:prstGeom prst="line">
            <a:avLst/>
          </a:prstGeom>
          <a:ln w="63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Marcador de texto 49">
            <a:extLst>
              <a:ext uri="{FF2B5EF4-FFF2-40B4-BE49-F238E27FC236}">
                <a16:creationId xmlns="" xmlns:a16="http://schemas.microsoft.com/office/drawing/2014/main" id="{E92E4CC6-CD15-8A63-0189-506371F9044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61411" y="1323167"/>
            <a:ext cx="2673350" cy="234292"/>
          </a:xfrm>
          <a:noFill/>
        </p:spPr>
        <p:txBody>
          <a:bodyPr>
            <a:noAutofit/>
          </a:bodyPr>
          <a:lstStyle>
            <a:lvl1pPr marL="0" indent="0">
              <a:buNone/>
              <a:defRPr sz="1300" b="1"/>
            </a:lvl1pPr>
          </a:lstStyle>
          <a:p>
            <a:pPr lvl="0"/>
            <a:r>
              <a:rPr lang="es-ES" dirty="0"/>
              <a:t>Texto</a:t>
            </a:r>
          </a:p>
        </p:txBody>
      </p:sp>
    </p:spTree>
    <p:extLst>
      <p:ext uri="{BB962C8B-B14F-4D97-AF65-F5344CB8AC3E}">
        <p14:creationId xmlns:p14="http://schemas.microsoft.com/office/powerpoint/2010/main" val="102947754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=""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8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=""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cxnSp>
        <p:nvCxnSpPr>
          <p:cNvPr id="146" name="28 Conector recto">
            <a:extLst>
              <a:ext uri="{FF2B5EF4-FFF2-40B4-BE49-F238E27FC236}">
                <a16:creationId xmlns="" xmlns:a16="http://schemas.microsoft.com/office/drawing/2014/main" id="{CD9AFF18-1D00-7A0A-2E10-B238816600D2}"/>
              </a:ext>
            </a:extLst>
          </p:cNvPr>
          <p:cNvCxnSpPr>
            <a:cxnSpLocks/>
          </p:cNvCxnSpPr>
          <p:nvPr userDrawn="1"/>
        </p:nvCxnSpPr>
        <p:spPr>
          <a:xfrm>
            <a:off x="432753" y="1557338"/>
            <a:ext cx="5181028" cy="0"/>
          </a:xfrm>
          <a:prstGeom prst="line">
            <a:avLst/>
          </a:prstGeom>
          <a:ln w="63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Marcador de gráfico 150">
            <a:extLst>
              <a:ext uri="{FF2B5EF4-FFF2-40B4-BE49-F238E27FC236}">
                <a16:creationId xmlns="" xmlns:a16="http://schemas.microsoft.com/office/drawing/2014/main" id="{05118DE9-F0E6-8EDC-C655-FBEFD2029434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432719" y="1727722"/>
            <a:ext cx="5180966" cy="3563466"/>
          </a:xfrm>
        </p:spPr>
        <p:txBody>
          <a:bodyPr/>
          <a:lstStyle/>
          <a:p>
            <a:endParaRPr lang="es-CL" dirty="0"/>
          </a:p>
        </p:txBody>
      </p:sp>
      <p:sp>
        <p:nvSpPr>
          <p:cNvPr id="9" name="Marcador de texto 49">
            <a:extLst>
              <a:ext uri="{FF2B5EF4-FFF2-40B4-BE49-F238E27FC236}">
                <a16:creationId xmlns="" xmlns:a16="http://schemas.microsoft.com/office/drawing/2014/main" id="{36C9AA89-70A9-96EF-08A2-1941754773F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2913" y="5647847"/>
            <a:ext cx="11328787" cy="470147"/>
          </a:xfrm>
          <a:noFill/>
        </p:spPr>
        <p:txBody>
          <a:bodyPr anchor="ctr">
            <a:noAutofit/>
          </a:bodyPr>
          <a:lstStyle>
            <a:lvl1pPr marL="0" indent="0" algn="ctr">
              <a:buNone/>
              <a:defRPr b="0"/>
            </a:lvl1pPr>
          </a:lstStyle>
          <a:p>
            <a:pPr lvl="0"/>
            <a:r>
              <a:rPr lang="es-ES" dirty="0"/>
              <a:t>Texto</a:t>
            </a:r>
          </a:p>
        </p:txBody>
      </p:sp>
      <p:cxnSp>
        <p:nvCxnSpPr>
          <p:cNvPr id="20" name="28 Conector recto">
            <a:extLst>
              <a:ext uri="{FF2B5EF4-FFF2-40B4-BE49-F238E27FC236}">
                <a16:creationId xmlns="" xmlns:a16="http://schemas.microsoft.com/office/drawing/2014/main" id="{D1AAE0B0-B1C7-7622-B4F0-C30A227DC181}"/>
              </a:ext>
            </a:extLst>
          </p:cNvPr>
          <p:cNvCxnSpPr>
            <a:cxnSpLocks/>
          </p:cNvCxnSpPr>
          <p:nvPr userDrawn="1"/>
        </p:nvCxnSpPr>
        <p:spPr>
          <a:xfrm>
            <a:off x="6590672" y="1557338"/>
            <a:ext cx="5181028" cy="0"/>
          </a:xfrm>
          <a:prstGeom prst="line">
            <a:avLst/>
          </a:prstGeom>
          <a:ln w="63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Marcador de gráfico 150">
            <a:extLst>
              <a:ext uri="{FF2B5EF4-FFF2-40B4-BE49-F238E27FC236}">
                <a16:creationId xmlns="" xmlns:a16="http://schemas.microsoft.com/office/drawing/2014/main" id="{36CEC36F-5B5E-A05B-2DEC-D3CE91C8A6D4}"/>
              </a:ext>
            </a:extLst>
          </p:cNvPr>
          <p:cNvSpPr>
            <a:spLocks noGrp="1"/>
          </p:cNvSpPr>
          <p:nvPr>
            <p:ph type="chart" sz="quarter" idx="33"/>
          </p:nvPr>
        </p:nvSpPr>
        <p:spPr>
          <a:xfrm>
            <a:off x="6601875" y="1727722"/>
            <a:ext cx="5180966" cy="3563466"/>
          </a:xfrm>
        </p:spPr>
        <p:txBody>
          <a:bodyPr/>
          <a:lstStyle/>
          <a:p>
            <a:endParaRPr lang="es-CL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17" name="Marcador de texto 49">
            <a:extLst>
              <a:ext uri="{FF2B5EF4-FFF2-40B4-BE49-F238E27FC236}">
                <a16:creationId xmlns="" xmlns:a16="http://schemas.microsoft.com/office/drawing/2014/main" id="{A2C8F08A-5581-007E-062D-4AE64E25E91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7578" y="1328808"/>
            <a:ext cx="5180400" cy="219443"/>
          </a:xfrm>
          <a:noFill/>
        </p:spPr>
        <p:txBody>
          <a:bodyPr>
            <a:noAutofit/>
          </a:bodyPr>
          <a:lstStyle>
            <a:lvl1pPr marL="0" indent="0">
              <a:buNone/>
              <a:defRPr sz="13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18" name="Marcador de texto 49">
            <a:extLst>
              <a:ext uri="{FF2B5EF4-FFF2-40B4-BE49-F238E27FC236}">
                <a16:creationId xmlns="" xmlns:a16="http://schemas.microsoft.com/office/drawing/2014/main" id="{A2C8F08A-5581-007E-062D-4AE64E25E91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591300" y="1328808"/>
            <a:ext cx="5180400" cy="219443"/>
          </a:xfrm>
          <a:noFill/>
        </p:spPr>
        <p:txBody>
          <a:bodyPr>
            <a:noAutofit/>
          </a:bodyPr>
          <a:lstStyle>
            <a:lvl1pPr marL="0" indent="0">
              <a:buNone/>
              <a:defRPr sz="1300" b="1"/>
            </a:lvl1pPr>
          </a:lstStyle>
          <a:p>
            <a:pPr lvl="0"/>
            <a:r>
              <a:rPr lang="es-ES" dirty="0"/>
              <a:t>Texto</a:t>
            </a:r>
          </a:p>
        </p:txBody>
      </p:sp>
    </p:spTree>
    <p:extLst>
      <p:ext uri="{BB962C8B-B14F-4D97-AF65-F5344CB8AC3E}">
        <p14:creationId xmlns:p14="http://schemas.microsoft.com/office/powerpoint/2010/main" val="143296116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=""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2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=""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sp>
        <p:nvSpPr>
          <p:cNvPr id="25" name="Marcador de texto 34">
            <a:extLst>
              <a:ext uri="{FF2B5EF4-FFF2-40B4-BE49-F238E27FC236}">
                <a16:creationId xmlns="" xmlns:a16="http://schemas.microsoft.com/office/drawing/2014/main" id="{44BA7B2D-169E-09F6-14BA-09E44D14D9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1480" y="1722909"/>
            <a:ext cx="7732429" cy="896671"/>
          </a:xfrm>
          <a:solidFill>
            <a:schemeClr val="tx2"/>
          </a:solidFill>
        </p:spPr>
        <p:txBody>
          <a:bodyPr lIns="360000"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26" name="Marcador de texto 31">
            <a:extLst>
              <a:ext uri="{FF2B5EF4-FFF2-40B4-BE49-F238E27FC236}">
                <a16:creationId xmlns="" xmlns:a16="http://schemas.microsoft.com/office/drawing/2014/main" id="{C4827CB1-5EFF-9B5B-992A-EC194F6BEB6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92887" y="1992650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30" name="Marcador de texto 34">
            <a:extLst>
              <a:ext uri="{FF2B5EF4-FFF2-40B4-BE49-F238E27FC236}">
                <a16:creationId xmlns="" xmlns:a16="http://schemas.microsoft.com/office/drawing/2014/main" id="{4CD7CCD0-1E82-0F5E-6B7E-DADD1ACFA3A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871480" y="2853618"/>
            <a:ext cx="7732429" cy="896671"/>
          </a:xfrm>
          <a:solidFill>
            <a:schemeClr val="tx2"/>
          </a:solidFill>
        </p:spPr>
        <p:txBody>
          <a:bodyPr lIns="360000"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31" name="Marcador de texto 31">
            <a:extLst>
              <a:ext uri="{FF2B5EF4-FFF2-40B4-BE49-F238E27FC236}">
                <a16:creationId xmlns="" xmlns:a16="http://schemas.microsoft.com/office/drawing/2014/main" id="{21B01A52-5DC3-F441-4910-6ED91E6343A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692887" y="3123359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37" name="Marcador de texto 34">
            <a:extLst>
              <a:ext uri="{FF2B5EF4-FFF2-40B4-BE49-F238E27FC236}">
                <a16:creationId xmlns="" xmlns:a16="http://schemas.microsoft.com/office/drawing/2014/main" id="{39D00571-CBCE-1055-7B0C-D0ADE391B2E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871480" y="4003992"/>
            <a:ext cx="7732429" cy="896671"/>
          </a:xfrm>
          <a:solidFill>
            <a:schemeClr val="tx2"/>
          </a:solidFill>
        </p:spPr>
        <p:txBody>
          <a:bodyPr lIns="360000"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41" name="Marcador de texto 31">
            <a:extLst>
              <a:ext uri="{FF2B5EF4-FFF2-40B4-BE49-F238E27FC236}">
                <a16:creationId xmlns="" xmlns:a16="http://schemas.microsoft.com/office/drawing/2014/main" id="{4AA8B7D6-A2BC-ECA8-5D7A-A7EB93B1677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692887" y="4273733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43" name="Marcador de texto 34">
            <a:extLst>
              <a:ext uri="{FF2B5EF4-FFF2-40B4-BE49-F238E27FC236}">
                <a16:creationId xmlns="" xmlns:a16="http://schemas.microsoft.com/office/drawing/2014/main" id="{E8B7423C-1808-9B07-6A30-59653C8D7A4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71480" y="5134701"/>
            <a:ext cx="7732429" cy="896671"/>
          </a:xfrm>
          <a:solidFill>
            <a:schemeClr val="tx2"/>
          </a:solidFill>
        </p:spPr>
        <p:txBody>
          <a:bodyPr lIns="360000" anchor="ctr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44" name="Marcador de texto 31">
            <a:extLst>
              <a:ext uri="{FF2B5EF4-FFF2-40B4-BE49-F238E27FC236}">
                <a16:creationId xmlns="" xmlns:a16="http://schemas.microsoft.com/office/drawing/2014/main" id="{4B45B11D-EF15-BFF9-9BC0-E2669B1D155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692887" y="5404442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45" name="Marcador de texto 34">
            <a:extLst>
              <a:ext uri="{FF2B5EF4-FFF2-40B4-BE49-F238E27FC236}">
                <a16:creationId xmlns="" xmlns:a16="http://schemas.microsoft.com/office/drawing/2014/main" id="{7A429157-FE10-D61D-F2FC-B70E632F37C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2913" y="1722909"/>
            <a:ext cx="2104510" cy="4308045"/>
          </a:xfrm>
          <a:solidFill>
            <a:schemeClr val="tx2"/>
          </a:solidFill>
        </p:spPr>
        <p:txBody>
          <a:bodyPr lIns="180000" tIns="180000" rIns="180000" bIns="180000" anchor="t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20" name="Marcador de texto 49">
            <a:extLst>
              <a:ext uri="{FF2B5EF4-FFF2-40B4-BE49-F238E27FC236}">
                <a16:creationId xmlns="" xmlns:a16="http://schemas.microsoft.com/office/drawing/2014/main" id="{A2C8F08A-5581-007E-062D-4AE64E25E91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7578" y="1328808"/>
            <a:ext cx="2106000" cy="219443"/>
          </a:xfrm>
          <a:noFill/>
        </p:spPr>
        <p:txBody>
          <a:bodyPr>
            <a:noAutofit/>
          </a:bodyPr>
          <a:lstStyle>
            <a:lvl1pPr marL="0" indent="0">
              <a:buNone/>
              <a:defRPr sz="13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21" name="Marcador de texto 49">
            <a:extLst>
              <a:ext uri="{FF2B5EF4-FFF2-40B4-BE49-F238E27FC236}">
                <a16:creationId xmlns="" xmlns:a16="http://schemas.microsoft.com/office/drawing/2014/main" id="{B1E462D8-2796-1E4A-955E-374B96D09A5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871480" y="1328808"/>
            <a:ext cx="2104509" cy="219443"/>
          </a:xfrm>
          <a:noFill/>
        </p:spPr>
        <p:txBody>
          <a:bodyPr>
            <a:noAutofit/>
          </a:bodyPr>
          <a:lstStyle>
            <a:lvl1pPr marL="0" indent="0">
              <a:buNone/>
              <a:defRPr sz="1300" b="1"/>
            </a:lvl1pPr>
          </a:lstStyle>
          <a:p>
            <a:pPr lvl="0"/>
            <a:r>
              <a:rPr lang="es-ES" dirty="0"/>
              <a:t>Texto</a:t>
            </a:r>
          </a:p>
        </p:txBody>
      </p:sp>
    </p:spTree>
    <p:extLst>
      <p:ext uri="{BB962C8B-B14F-4D97-AF65-F5344CB8AC3E}">
        <p14:creationId xmlns:p14="http://schemas.microsoft.com/office/powerpoint/2010/main" val="152429424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=""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6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=""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cxnSp>
        <p:nvCxnSpPr>
          <p:cNvPr id="9" name="Conector recto 8">
            <a:extLst>
              <a:ext uri="{FF2B5EF4-FFF2-40B4-BE49-F238E27FC236}">
                <a16:creationId xmlns="" xmlns:a16="http://schemas.microsoft.com/office/drawing/2014/main" id="{7D00A3F0-1DBD-1D33-8E5F-B66DB97D8FD7}"/>
              </a:ext>
            </a:extLst>
          </p:cNvPr>
          <p:cNvCxnSpPr>
            <a:cxnSpLocks/>
          </p:cNvCxnSpPr>
          <p:nvPr userDrawn="1"/>
        </p:nvCxnSpPr>
        <p:spPr>
          <a:xfrm>
            <a:off x="2349500" y="1557338"/>
            <a:ext cx="0" cy="2523770"/>
          </a:xfrm>
          <a:prstGeom prst="line">
            <a:avLst/>
          </a:prstGeom>
          <a:noFill/>
          <a:ln w="19050" cap="flat">
            <a:solidFill>
              <a:schemeClr val="accent3">
                <a:lumMod val="75000"/>
                <a:lumOff val="25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0" name="Conector recto 9">
            <a:extLst>
              <a:ext uri="{FF2B5EF4-FFF2-40B4-BE49-F238E27FC236}">
                <a16:creationId xmlns="" xmlns:a16="http://schemas.microsoft.com/office/drawing/2014/main" id="{D8DA6DB9-6655-E31D-4DF8-A9BFB349B924}"/>
              </a:ext>
            </a:extLst>
          </p:cNvPr>
          <p:cNvCxnSpPr>
            <a:cxnSpLocks/>
          </p:cNvCxnSpPr>
          <p:nvPr userDrawn="1"/>
        </p:nvCxnSpPr>
        <p:spPr>
          <a:xfrm>
            <a:off x="2349500" y="4679941"/>
            <a:ext cx="0" cy="1260414"/>
          </a:xfrm>
          <a:prstGeom prst="line">
            <a:avLst/>
          </a:prstGeom>
          <a:noFill/>
          <a:ln w="19050" cap="flat">
            <a:solidFill>
              <a:schemeClr val="accent3">
                <a:lumMod val="75000"/>
                <a:lumOff val="25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2" name="Marcador de texto 34">
            <a:extLst>
              <a:ext uri="{FF2B5EF4-FFF2-40B4-BE49-F238E27FC236}">
                <a16:creationId xmlns="" xmlns:a16="http://schemas.microsoft.com/office/drawing/2014/main" id="{462A4861-FA73-4F84-D33F-E36591B94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57514" y="1703767"/>
            <a:ext cx="7383748" cy="360000"/>
          </a:xfrm>
          <a:solidFill>
            <a:schemeClr val="tx2"/>
          </a:solidFill>
        </p:spPr>
        <p:txBody>
          <a:bodyPr lIns="360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23" name="Marcador de texto 31">
            <a:extLst>
              <a:ext uri="{FF2B5EF4-FFF2-40B4-BE49-F238E27FC236}">
                <a16:creationId xmlns="" xmlns:a16="http://schemas.microsoft.com/office/drawing/2014/main" id="{2A9F2B1D-23F6-CA0E-3516-72F6643F7F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78920" y="1706579"/>
            <a:ext cx="357188" cy="35718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28" name="Marcador de texto 34">
            <a:extLst>
              <a:ext uri="{FF2B5EF4-FFF2-40B4-BE49-F238E27FC236}">
                <a16:creationId xmlns="" xmlns:a16="http://schemas.microsoft.com/office/drawing/2014/main" id="{FF397842-E966-0BAD-2099-3A4A04BD1E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57514" y="2320217"/>
            <a:ext cx="7383748" cy="360000"/>
          </a:xfrm>
          <a:solidFill>
            <a:schemeClr val="tx2"/>
          </a:solidFill>
        </p:spPr>
        <p:txBody>
          <a:bodyPr lIns="360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32" name="Marcador de texto 31">
            <a:extLst>
              <a:ext uri="{FF2B5EF4-FFF2-40B4-BE49-F238E27FC236}">
                <a16:creationId xmlns="" xmlns:a16="http://schemas.microsoft.com/office/drawing/2014/main" id="{9E378365-C358-1A5A-6210-FED06EA7AF8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78920" y="2323029"/>
            <a:ext cx="357188" cy="35718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33" name="Marcador de texto 34">
            <a:extLst>
              <a:ext uri="{FF2B5EF4-FFF2-40B4-BE49-F238E27FC236}">
                <a16:creationId xmlns="" xmlns:a16="http://schemas.microsoft.com/office/drawing/2014/main" id="{E2C5DC06-7BB7-7232-58C7-444D3E8837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57514" y="2957215"/>
            <a:ext cx="7383748" cy="360000"/>
          </a:xfrm>
          <a:solidFill>
            <a:schemeClr val="tx2"/>
          </a:solidFill>
        </p:spPr>
        <p:txBody>
          <a:bodyPr lIns="360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34" name="Marcador de texto 31">
            <a:extLst>
              <a:ext uri="{FF2B5EF4-FFF2-40B4-BE49-F238E27FC236}">
                <a16:creationId xmlns="" xmlns:a16="http://schemas.microsoft.com/office/drawing/2014/main" id="{D88F5D89-C7C9-442F-44A9-A2BA306580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78920" y="2960027"/>
            <a:ext cx="357188" cy="35718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35" name="Marcador de texto 34">
            <a:extLst>
              <a:ext uri="{FF2B5EF4-FFF2-40B4-BE49-F238E27FC236}">
                <a16:creationId xmlns="" xmlns:a16="http://schemas.microsoft.com/office/drawing/2014/main" id="{5D97D7C2-0F0D-4275-E1C0-DFE6973AA64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57514" y="3573665"/>
            <a:ext cx="7383748" cy="360000"/>
          </a:xfrm>
          <a:solidFill>
            <a:schemeClr val="tx2"/>
          </a:solidFill>
        </p:spPr>
        <p:txBody>
          <a:bodyPr lIns="360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36" name="Marcador de texto 31">
            <a:extLst>
              <a:ext uri="{FF2B5EF4-FFF2-40B4-BE49-F238E27FC236}">
                <a16:creationId xmlns="" xmlns:a16="http://schemas.microsoft.com/office/drawing/2014/main" id="{C6743988-3135-9B1B-A7E1-84F9AF68356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678920" y="3576477"/>
            <a:ext cx="357188" cy="35718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40" name="Marcador de texto 34">
            <a:extLst>
              <a:ext uri="{FF2B5EF4-FFF2-40B4-BE49-F238E27FC236}">
                <a16:creationId xmlns="" xmlns:a16="http://schemas.microsoft.com/office/drawing/2014/main" id="{986A27C1-4385-EA36-2391-6E1C2590542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57514" y="4800623"/>
            <a:ext cx="7383748" cy="360000"/>
          </a:xfrm>
          <a:solidFill>
            <a:schemeClr val="accent1"/>
          </a:solidFill>
        </p:spPr>
        <p:txBody>
          <a:bodyPr lIns="36000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42" name="Marcador de texto 31">
            <a:extLst>
              <a:ext uri="{FF2B5EF4-FFF2-40B4-BE49-F238E27FC236}">
                <a16:creationId xmlns="" xmlns:a16="http://schemas.microsoft.com/office/drawing/2014/main" id="{9303CB70-6710-7652-6862-92FD3CEF4AD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678920" y="4803435"/>
            <a:ext cx="357188" cy="3571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46" name="Marcador de texto 34">
            <a:extLst>
              <a:ext uri="{FF2B5EF4-FFF2-40B4-BE49-F238E27FC236}">
                <a16:creationId xmlns="" xmlns:a16="http://schemas.microsoft.com/office/drawing/2014/main" id="{619B6F0C-A526-9A80-52DE-21AA36F46C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857514" y="5417073"/>
            <a:ext cx="7383748" cy="360000"/>
          </a:xfrm>
          <a:solidFill>
            <a:schemeClr val="accent1"/>
          </a:solidFill>
        </p:spPr>
        <p:txBody>
          <a:bodyPr lIns="36000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47" name="Marcador de texto 31">
            <a:extLst>
              <a:ext uri="{FF2B5EF4-FFF2-40B4-BE49-F238E27FC236}">
                <a16:creationId xmlns="" xmlns:a16="http://schemas.microsoft.com/office/drawing/2014/main" id="{69225B97-AB96-0666-B527-D3A15A469BD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678920" y="5419885"/>
            <a:ext cx="357188" cy="3571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48" name="Marcador de texto 34">
            <a:extLst>
              <a:ext uri="{FF2B5EF4-FFF2-40B4-BE49-F238E27FC236}">
                <a16:creationId xmlns="" xmlns:a16="http://schemas.microsoft.com/office/drawing/2014/main" id="{CAAA8765-51D3-525E-5399-D9BA69DF784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50017" y="1557338"/>
            <a:ext cx="1345910" cy="2523769"/>
          </a:xfrm>
          <a:noFill/>
        </p:spPr>
        <p:txBody>
          <a:bodyPr lIns="180000" tIns="180000" rIns="180000" bIns="180000" anchor="ctr">
            <a:noAutofit/>
          </a:bodyPr>
          <a:lstStyle>
            <a:lvl1pPr marL="0" indent="0" algn="r">
              <a:buNone/>
              <a:defRPr b="1"/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49" name="Marcador de texto 34">
            <a:extLst>
              <a:ext uri="{FF2B5EF4-FFF2-40B4-BE49-F238E27FC236}">
                <a16:creationId xmlns="" xmlns:a16="http://schemas.microsoft.com/office/drawing/2014/main" id="{493F1595-E2C2-7DB1-B57D-E491A3A3301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50017" y="4679941"/>
            <a:ext cx="1345910" cy="1260414"/>
          </a:xfrm>
          <a:noFill/>
        </p:spPr>
        <p:txBody>
          <a:bodyPr lIns="180000" tIns="180000" rIns="180000" bIns="180000" anchor="ctr">
            <a:noAutofit/>
          </a:bodyPr>
          <a:lstStyle>
            <a:lvl1pPr marL="0" indent="0" algn="r">
              <a:buNone/>
              <a:defRPr b="1"/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255472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=""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0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=""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sp>
        <p:nvSpPr>
          <p:cNvPr id="67" name="Marcador de gráfico 66">
            <a:extLst>
              <a:ext uri="{FF2B5EF4-FFF2-40B4-BE49-F238E27FC236}">
                <a16:creationId xmlns="" xmlns:a16="http://schemas.microsoft.com/office/drawing/2014/main" id="{0E2BF5F4-28AA-C091-A2C9-41CCD7F2E667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436563" y="4906393"/>
            <a:ext cx="11347450" cy="1259457"/>
          </a:xfrm>
        </p:spPr>
        <p:txBody>
          <a:bodyPr/>
          <a:lstStyle/>
          <a:p>
            <a:endParaRPr lang="es-CL" dirty="0"/>
          </a:p>
        </p:txBody>
      </p:sp>
      <p:sp>
        <p:nvSpPr>
          <p:cNvPr id="68" name="Marcador de texto 49">
            <a:extLst>
              <a:ext uri="{FF2B5EF4-FFF2-40B4-BE49-F238E27FC236}">
                <a16:creationId xmlns="" xmlns:a16="http://schemas.microsoft.com/office/drawing/2014/main" id="{2D6AB44C-BE20-6AE1-2BD7-60136A0F324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41504" y="1747856"/>
            <a:ext cx="5283960" cy="234291"/>
          </a:xfrm>
          <a:noFill/>
        </p:spPr>
        <p:txBody>
          <a:bodyPr anchor="t">
            <a:noAutofit/>
          </a:bodyPr>
          <a:lstStyle>
            <a:lvl1pPr marL="0" indent="0">
              <a:buNone/>
              <a:defRPr sz="12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69" name="Marcador de texto 49">
            <a:extLst>
              <a:ext uri="{FF2B5EF4-FFF2-40B4-BE49-F238E27FC236}">
                <a16:creationId xmlns="" xmlns:a16="http://schemas.microsoft.com/office/drawing/2014/main" id="{78626F12-8EE4-627F-3D9C-5D9BC9F5982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1504" y="2013330"/>
            <a:ext cx="5283960" cy="1097208"/>
          </a:xfrm>
          <a:noFill/>
        </p:spPr>
        <p:txBody>
          <a:bodyPr anchor="t">
            <a:no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70" name="Marcador de texto 49">
            <a:extLst>
              <a:ext uri="{FF2B5EF4-FFF2-40B4-BE49-F238E27FC236}">
                <a16:creationId xmlns="" xmlns:a16="http://schemas.microsoft.com/office/drawing/2014/main" id="{704B6EFA-6E90-AFBD-907A-64E68F61631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500053" y="1747856"/>
            <a:ext cx="5283960" cy="234291"/>
          </a:xfrm>
          <a:noFill/>
        </p:spPr>
        <p:txBody>
          <a:bodyPr anchor="t">
            <a:noAutofit/>
          </a:bodyPr>
          <a:lstStyle>
            <a:lvl1pPr marL="0" indent="0">
              <a:buNone/>
              <a:defRPr sz="12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71" name="Marcador de texto 49">
            <a:extLst>
              <a:ext uri="{FF2B5EF4-FFF2-40B4-BE49-F238E27FC236}">
                <a16:creationId xmlns="" xmlns:a16="http://schemas.microsoft.com/office/drawing/2014/main" id="{232DAC00-2C77-A7D9-FE90-2C560289885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500053" y="2013330"/>
            <a:ext cx="5283960" cy="1097208"/>
          </a:xfrm>
          <a:noFill/>
        </p:spPr>
        <p:txBody>
          <a:bodyPr anchor="t">
            <a:no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72" name="Marcador de texto 49">
            <a:extLst>
              <a:ext uri="{FF2B5EF4-FFF2-40B4-BE49-F238E27FC236}">
                <a16:creationId xmlns="" xmlns:a16="http://schemas.microsoft.com/office/drawing/2014/main" id="{443983D0-B2F0-8BE2-4CB2-B508E32E48B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41504" y="3327124"/>
            <a:ext cx="5283960" cy="234291"/>
          </a:xfrm>
          <a:noFill/>
        </p:spPr>
        <p:txBody>
          <a:bodyPr anchor="t">
            <a:noAutofit/>
          </a:bodyPr>
          <a:lstStyle>
            <a:lvl1pPr marL="0" indent="0">
              <a:buNone/>
              <a:defRPr sz="12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73" name="Marcador de texto 49">
            <a:extLst>
              <a:ext uri="{FF2B5EF4-FFF2-40B4-BE49-F238E27FC236}">
                <a16:creationId xmlns="" xmlns:a16="http://schemas.microsoft.com/office/drawing/2014/main" id="{43DC84FC-1150-EEA1-3070-A9BDBE38B78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1504" y="3593774"/>
            <a:ext cx="5283960" cy="1097208"/>
          </a:xfrm>
          <a:noFill/>
        </p:spPr>
        <p:txBody>
          <a:bodyPr anchor="t">
            <a:no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74" name="Marcador de texto 49">
            <a:extLst>
              <a:ext uri="{FF2B5EF4-FFF2-40B4-BE49-F238E27FC236}">
                <a16:creationId xmlns="" xmlns:a16="http://schemas.microsoft.com/office/drawing/2014/main" id="{777C99C0-74E7-64A1-F61D-14048912DB6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500053" y="3327124"/>
            <a:ext cx="5283960" cy="234291"/>
          </a:xfrm>
          <a:noFill/>
        </p:spPr>
        <p:txBody>
          <a:bodyPr anchor="t">
            <a:noAutofit/>
          </a:bodyPr>
          <a:lstStyle>
            <a:lvl1pPr marL="0" indent="0">
              <a:buNone/>
              <a:defRPr sz="12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75" name="Marcador de texto 49">
            <a:extLst>
              <a:ext uri="{FF2B5EF4-FFF2-40B4-BE49-F238E27FC236}">
                <a16:creationId xmlns="" xmlns:a16="http://schemas.microsoft.com/office/drawing/2014/main" id="{C6759ADA-6F64-71AA-E09A-F518715539B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500053" y="3593774"/>
            <a:ext cx="5283960" cy="1097208"/>
          </a:xfrm>
          <a:noFill/>
        </p:spPr>
        <p:txBody>
          <a:bodyPr anchor="t">
            <a:no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77" name="Marcador de texto 49">
            <a:extLst>
              <a:ext uri="{FF2B5EF4-FFF2-40B4-BE49-F238E27FC236}">
                <a16:creationId xmlns="" xmlns:a16="http://schemas.microsoft.com/office/drawing/2014/main" id="{8E6886E5-E7E4-6B6E-3F9A-E4EA0BAE70B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273852" y="1328807"/>
            <a:ext cx="3451612" cy="219443"/>
          </a:xfrm>
          <a:prstGeom prst="rect">
            <a:avLst/>
          </a:prstGeom>
          <a:solidFill>
            <a:schemeClr val="tx2"/>
          </a:solidFill>
        </p:spPr>
        <p:txBody>
          <a:bodyPr anchor="t" anchorCtr="0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22" name="Marcador de texto 49">
            <a:extLst>
              <a:ext uri="{FF2B5EF4-FFF2-40B4-BE49-F238E27FC236}">
                <a16:creationId xmlns="" xmlns:a16="http://schemas.microsoft.com/office/drawing/2014/main" id="{A2C8F08A-5581-007E-062D-4AE64E25E91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7578" y="1328807"/>
            <a:ext cx="1825200" cy="219443"/>
          </a:xfrm>
          <a:solidFill>
            <a:schemeClr val="accent1"/>
          </a:solidFill>
        </p:spPr>
        <p:txBody>
          <a:bodyPr anchor="t" anchorCtr="0">
            <a:noAutofit/>
          </a:bodyPr>
          <a:lstStyle>
            <a:lvl1pPr marL="0" indent="0">
              <a:buNone/>
              <a:defRPr sz="13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23" name="Marcador de texto 49">
            <a:extLst>
              <a:ext uri="{FF2B5EF4-FFF2-40B4-BE49-F238E27FC236}">
                <a16:creationId xmlns="" xmlns:a16="http://schemas.microsoft.com/office/drawing/2014/main" id="{8E6886E5-E7E4-6B6E-3F9A-E4EA0BAE70B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332401" y="1328807"/>
            <a:ext cx="3451612" cy="219443"/>
          </a:xfrm>
          <a:prstGeom prst="rect">
            <a:avLst/>
          </a:prstGeom>
          <a:solidFill>
            <a:schemeClr val="tx2"/>
          </a:solidFill>
        </p:spPr>
        <p:txBody>
          <a:bodyPr anchor="t" anchorCtr="0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24" name="Marcador de texto 49">
            <a:extLst>
              <a:ext uri="{FF2B5EF4-FFF2-40B4-BE49-F238E27FC236}">
                <a16:creationId xmlns="" xmlns:a16="http://schemas.microsoft.com/office/drawing/2014/main" id="{A2C8F08A-5581-007E-062D-4AE64E25E91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500053" y="1328807"/>
            <a:ext cx="1825200" cy="219443"/>
          </a:xfrm>
          <a:solidFill>
            <a:schemeClr val="accent1"/>
          </a:solidFill>
        </p:spPr>
        <p:txBody>
          <a:bodyPr anchor="t" anchorCtr="0">
            <a:noAutofit/>
          </a:bodyPr>
          <a:lstStyle>
            <a:lvl1pPr marL="0" indent="0">
              <a:buNone/>
              <a:defRPr sz="13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</p:spTree>
    <p:extLst>
      <p:ext uri="{BB962C8B-B14F-4D97-AF65-F5344CB8AC3E}">
        <p14:creationId xmlns:p14="http://schemas.microsoft.com/office/powerpoint/2010/main" val="139873399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=""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4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=""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F6D0C49E-3AAB-6355-628D-23D62EB5D73A}"/>
              </a:ext>
            </a:extLst>
          </p:cNvPr>
          <p:cNvSpPr/>
          <p:nvPr userDrawn="1"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171450" indent="-171450" algn="ctr" defTabSz="82550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endParaRPr lang="en-US" sz="1000" dirty="0">
              <a:solidFill>
                <a:prstClr val="white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0" name="Título 9">
            <a:extLst>
              <a:ext uri="{FF2B5EF4-FFF2-40B4-BE49-F238E27FC236}">
                <a16:creationId xmlns=""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cxnSp>
        <p:nvCxnSpPr>
          <p:cNvPr id="5" name="Conector recto 4">
            <a:extLst>
              <a:ext uri="{FF2B5EF4-FFF2-40B4-BE49-F238E27FC236}">
                <a16:creationId xmlns="" xmlns:a16="http://schemas.microsoft.com/office/drawing/2014/main" id="{9AD7EFE8-F025-92AE-299B-FD35C5C79F2C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</p:cxnSp>
      <p:sp>
        <p:nvSpPr>
          <p:cNvPr id="31" name="Rectángulo 30">
            <a:extLst>
              <a:ext uri="{FF2B5EF4-FFF2-40B4-BE49-F238E27FC236}">
                <a16:creationId xmlns="" xmlns:a16="http://schemas.microsoft.com/office/drawing/2014/main" id="{A2C2BDA4-4AE0-D380-9B6E-2721E0E64383}"/>
              </a:ext>
            </a:extLst>
          </p:cNvPr>
          <p:cNvSpPr/>
          <p:nvPr userDrawn="1"/>
        </p:nvSpPr>
        <p:spPr>
          <a:xfrm rot="18900000">
            <a:off x="5690209" y="3341110"/>
            <a:ext cx="811583" cy="811583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2000" tIns="72000" rIns="72000" bIns="72000" numCol="1" spcCol="38100" rtlCol="0" anchor="t">
            <a:noAutofit/>
          </a:bodyPr>
          <a:lstStyle/>
          <a:p>
            <a:pPr defTabSz="825500">
              <a:lnSpc>
                <a:spcPct val="100000"/>
              </a:lnSpc>
              <a:spcBef>
                <a:spcPts val="0"/>
              </a:spcBef>
            </a:pPr>
            <a:endParaRPr lang="es-CL" sz="1200" dirty="0">
              <a:ea typeface="Helvetica Neue Medium"/>
              <a:cs typeface="Helvetica Neue Medium"/>
              <a:sym typeface="Helvetica Neue Medium"/>
            </a:endParaRPr>
          </a:p>
        </p:txBody>
      </p:sp>
      <p:cxnSp>
        <p:nvCxnSpPr>
          <p:cNvPr id="79" name="28 Conector recto">
            <a:extLst>
              <a:ext uri="{FF2B5EF4-FFF2-40B4-BE49-F238E27FC236}">
                <a16:creationId xmlns="" xmlns:a16="http://schemas.microsoft.com/office/drawing/2014/main" id="{0D000B62-F354-CAEE-1F1C-6FBC32674F4E}"/>
              </a:ext>
            </a:extLst>
          </p:cNvPr>
          <p:cNvCxnSpPr>
            <a:cxnSpLocks/>
          </p:cNvCxnSpPr>
          <p:nvPr userDrawn="1"/>
        </p:nvCxnSpPr>
        <p:spPr>
          <a:xfrm>
            <a:off x="447578" y="1558466"/>
            <a:ext cx="4345482" cy="15658"/>
          </a:xfrm>
          <a:prstGeom prst="line">
            <a:avLst/>
          </a:prstGeom>
          <a:ln w="63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28 Conector recto">
            <a:extLst>
              <a:ext uri="{FF2B5EF4-FFF2-40B4-BE49-F238E27FC236}">
                <a16:creationId xmlns="" xmlns:a16="http://schemas.microsoft.com/office/drawing/2014/main" id="{A67A4031-DCB4-A538-9A3C-872B6968584F}"/>
              </a:ext>
            </a:extLst>
          </p:cNvPr>
          <p:cNvCxnSpPr>
            <a:cxnSpLocks/>
          </p:cNvCxnSpPr>
          <p:nvPr userDrawn="1"/>
        </p:nvCxnSpPr>
        <p:spPr>
          <a:xfrm>
            <a:off x="6825064" y="1558466"/>
            <a:ext cx="4345200" cy="0"/>
          </a:xfrm>
          <a:prstGeom prst="line">
            <a:avLst/>
          </a:prstGeom>
          <a:ln w="63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Marcador de texto 49">
            <a:extLst>
              <a:ext uri="{FF2B5EF4-FFF2-40B4-BE49-F238E27FC236}">
                <a16:creationId xmlns="" xmlns:a16="http://schemas.microsoft.com/office/drawing/2014/main" id="{52D1196A-4A45-E52C-7BAB-0724D78212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613303" y="2103677"/>
            <a:ext cx="3179757" cy="213650"/>
          </a:xfrm>
          <a:noFill/>
        </p:spPr>
        <p:txBody>
          <a:bodyPr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87" name="Marcador de posición de imagen 86">
            <a:extLst>
              <a:ext uri="{FF2B5EF4-FFF2-40B4-BE49-F238E27FC236}">
                <a16:creationId xmlns="" xmlns:a16="http://schemas.microsoft.com/office/drawing/2014/main" id="{EE707A6C-8AB7-6A75-AAC1-B4485A2861DC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47578" y="1769393"/>
            <a:ext cx="963613" cy="965200"/>
          </a:xfrm>
        </p:spPr>
        <p:txBody>
          <a:bodyPr/>
          <a:lstStyle>
            <a:lvl1pPr>
              <a:defRPr/>
            </a:lvl1pPr>
          </a:lstStyle>
          <a:p>
            <a:r>
              <a:rPr lang="es-ES" dirty="0"/>
              <a:t>ícono</a:t>
            </a:r>
            <a:endParaRPr lang="es-CL" dirty="0"/>
          </a:p>
        </p:txBody>
      </p:sp>
      <p:sp>
        <p:nvSpPr>
          <p:cNvPr id="88" name="Marcador de texto 49">
            <a:extLst>
              <a:ext uri="{FF2B5EF4-FFF2-40B4-BE49-F238E27FC236}">
                <a16:creationId xmlns="" xmlns:a16="http://schemas.microsoft.com/office/drawing/2014/main" id="{E7E07ECC-09A2-20EC-0208-82A7D76B10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990789" y="2103677"/>
            <a:ext cx="3179757" cy="213650"/>
          </a:xfrm>
          <a:noFill/>
        </p:spPr>
        <p:txBody>
          <a:bodyPr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89" name="Marcador de posición de imagen 86">
            <a:extLst>
              <a:ext uri="{FF2B5EF4-FFF2-40B4-BE49-F238E27FC236}">
                <a16:creationId xmlns="" xmlns:a16="http://schemas.microsoft.com/office/drawing/2014/main" id="{A025E4CC-CB3B-1A01-4C7E-17CAD9B0D19D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825064" y="1769393"/>
            <a:ext cx="963613" cy="965200"/>
          </a:xfrm>
        </p:spPr>
        <p:txBody>
          <a:bodyPr/>
          <a:lstStyle>
            <a:lvl1pPr>
              <a:defRPr/>
            </a:lvl1pPr>
          </a:lstStyle>
          <a:p>
            <a:r>
              <a:rPr lang="es-ES" dirty="0"/>
              <a:t>ícono</a:t>
            </a:r>
            <a:endParaRPr lang="es-CL" dirty="0"/>
          </a:p>
        </p:txBody>
      </p:sp>
      <p:sp>
        <p:nvSpPr>
          <p:cNvPr id="90" name="Marcador de texto 49">
            <a:extLst>
              <a:ext uri="{FF2B5EF4-FFF2-40B4-BE49-F238E27FC236}">
                <a16:creationId xmlns="" xmlns:a16="http://schemas.microsoft.com/office/drawing/2014/main" id="{2A5F4B21-3C07-6B23-DA88-F0A5E64080D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613303" y="3431436"/>
            <a:ext cx="3179757" cy="213650"/>
          </a:xfrm>
          <a:noFill/>
        </p:spPr>
        <p:txBody>
          <a:bodyPr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91" name="Marcador de posición de imagen 86">
            <a:extLst>
              <a:ext uri="{FF2B5EF4-FFF2-40B4-BE49-F238E27FC236}">
                <a16:creationId xmlns="" xmlns:a16="http://schemas.microsoft.com/office/drawing/2014/main" id="{D0AB1B78-BEF5-7D3E-137F-DA0C8CB03F73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447578" y="3097152"/>
            <a:ext cx="963613" cy="965200"/>
          </a:xfrm>
        </p:spPr>
        <p:txBody>
          <a:bodyPr/>
          <a:lstStyle>
            <a:lvl1pPr>
              <a:defRPr/>
            </a:lvl1pPr>
          </a:lstStyle>
          <a:p>
            <a:r>
              <a:rPr lang="es-ES" dirty="0"/>
              <a:t>ícono</a:t>
            </a:r>
            <a:endParaRPr lang="es-CL" dirty="0"/>
          </a:p>
        </p:txBody>
      </p:sp>
      <p:sp>
        <p:nvSpPr>
          <p:cNvPr id="92" name="Marcador de texto 49">
            <a:extLst>
              <a:ext uri="{FF2B5EF4-FFF2-40B4-BE49-F238E27FC236}">
                <a16:creationId xmlns="" xmlns:a16="http://schemas.microsoft.com/office/drawing/2014/main" id="{BA5ED855-5F65-8BA9-99B2-4DC819774CA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990789" y="3431436"/>
            <a:ext cx="3179757" cy="213650"/>
          </a:xfrm>
          <a:noFill/>
        </p:spPr>
        <p:txBody>
          <a:bodyPr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93" name="Marcador de posición de imagen 86">
            <a:extLst>
              <a:ext uri="{FF2B5EF4-FFF2-40B4-BE49-F238E27FC236}">
                <a16:creationId xmlns="" xmlns:a16="http://schemas.microsoft.com/office/drawing/2014/main" id="{80FC252A-E9F2-DDBC-BC5F-AF376C2822A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825064" y="3097152"/>
            <a:ext cx="963613" cy="965200"/>
          </a:xfrm>
        </p:spPr>
        <p:txBody>
          <a:bodyPr/>
          <a:lstStyle>
            <a:lvl1pPr>
              <a:defRPr/>
            </a:lvl1pPr>
          </a:lstStyle>
          <a:p>
            <a:r>
              <a:rPr lang="es-ES" dirty="0"/>
              <a:t>ícono</a:t>
            </a:r>
            <a:endParaRPr lang="es-CL" dirty="0"/>
          </a:p>
        </p:txBody>
      </p:sp>
      <p:sp>
        <p:nvSpPr>
          <p:cNvPr id="94" name="Marcador de texto 49">
            <a:extLst>
              <a:ext uri="{FF2B5EF4-FFF2-40B4-BE49-F238E27FC236}">
                <a16:creationId xmlns="" xmlns:a16="http://schemas.microsoft.com/office/drawing/2014/main" id="{58DE00A0-CCCF-C046-C374-906C947B02A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613303" y="4684038"/>
            <a:ext cx="3179757" cy="213650"/>
          </a:xfrm>
          <a:noFill/>
        </p:spPr>
        <p:txBody>
          <a:bodyPr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95" name="Marcador de posición de imagen 86">
            <a:extLst>
              <a:ext uri="{FF2B5EF4-FFF2-40B4-BE49-F238E27FC236}">
                <a16:creationId xmlns="" xmlns:a16="http://schemas.microsoft.com/office/drawing/2014/main" id="{A3585362-2AF5-F97A-545B-5D455F197F5F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47578" y="4349754"/>
            <a:ext cx="963613" cy="965200"/>
          </a:xfrm>
        </p:spPr>
        <p:txBody>
          <a:bodyPr/>
          <a:lstStyle>
            <a:lvl1pPr>
              <a:defRPr/>
            </a:lvl1pPr>
          </a:lstStyle>
          <a:p>
            <a:r>
              <a:rPr lang="es-ES" dirty="0"/>
              <a:t>ícono</a:t>
            </a:r>
            <a:endParaRPr lang="es-CL" dirty="0"/>
          </a:p>
        </p:txBody>
      </p:sp>
      <p:sp>
        <p:nvSpPr>
          <p:cNvPr id="96" name="Marcador de texto 49">
            <a:extLst>
              <a:ext uri="{FF2B5EF4-FFF2-40B4-BE49-F238E27FC236}">
                <a16:creationId xmlns="" xmlns:a16="http://schemas.microsoft.com/office/drawing/2014/main" id="{FE81C58E-4242-A183-B6DD-08972C2E30E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990789" y="4684038"/>
            <a:ext cx="3179757" cy="213650"/>
          </a:xfrm>
          <a:noFill/>
        </p:spPr>
        <p:txBody>
          <a:bodyPr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97" name="Marcador de posición de imagen 86">
            <a:extLst>
              <a:ext uri="{FF2B5EF4-FFF2-40B4-BE49-F238E27FC236}">
                <a16:creationId xmlns="" xmlns:a16="http://schemas.microsoft.com/office/drawing/2014/main" id="{22DCB027-9E5E-6FB3-1D97-72B05289323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825064" y="4349754"/>
            <a:ext cx="963613" cy="965200"/>
          </a:xfrm>
        </p:spPr>
        <p:txBody>
          <a:bodyPr/>
          <a:lstStyle>
            <a:lvl1pPr>
              <a:defRPr/>
            </a:lvl1pPr>
          </a:lstStyle>
          <a:p>
            <a:r>
              <a:rPr lang="es-ES" dirty="0"/>
              <a:t>ícono</a:t>
            </a:r>
            <a:endParaRPr lang="es-CL" dirty="0"/>
          </a:p>
        </p:txBody>
      </p:sp>
      <p:sp>
        <p:nvSpPr>
          <p:cNvPr id="99" name="Marcador de texto 49">
            <a:extLst>
              <a:ext uri="{FF2B5EF4-FFF2-40B4-BE49-F238E27FC236}">
                <a16:creationId xmlns="" xmlns:a16="http://schemas.microsoft.com/office/drawing/2014/main" id="{74CB5E10-8F3F-6D86-5DFF-F5B4A6A5F6F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7578" y="5844507"/>
            <a:ext cx="5074546" cy="205305"/>
          </a:xfrm>
          <a:noFill/>
        </p:spPr>
        <p:txBody>
          <a:bodyPr>
            <a:noAutofit/>
          </a:bodyPr>
          <a:lstStyle>
            <a:lvl1pPr marL="0" indent="0" algn="r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100" name="Marcador de texto 49">
            <a:extLst>
              <a:ext uri="{FF2B5EF4-FFF2-40B4-BE49-F238E27FC236}">
                <a16:creationId xmlns="" xmlns:a16="http://schemas.microsoft.com/office/drawing/2014/main" id="{BCA3F8A5-5D73-29B6-C481-E2EC7BD4CCF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825063" y="5844507"/>
            <a:ext cx="4410667" cy="223536"/>
          </a:xfrm>
          <a:noFill/>
        </p:spPr>
        <p:txBody>
          <a:bodyPr>
            <a:noAutofit/>
          </a:bodyPr>
          <a:lstStyle>
            <a:lvl1pPr marL="0" indent="0" algn="r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30" name="Marcador de texto 49">
            <a:extLst>
              <a:ext uri="{FF2B5EF4-FFF2-40B4-BE49-F238E27FC236}">
                <a16:creationId xmlns="" xmlns:a16="http://schemas.microsoft.com/office/drawing/2014/main" id="{A2C8F08A-5581-007E-062D-4AE64E25E91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7578" y="1328808"/>
            <a:ext cx="4345200" cy="219443"/>
          </a:xfrm>
          <a:noFill/>
        </p:spPr>
        <p:txBody>
          <a:bodyPr>
            <a:noAutofit/>
          </a:bodyPr>
          <a:lstStyle>
            <a:lvl1pPr marL="0" indent="0">
              <a:buNone/>
              <a:defRPr sz="13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32" name="Marcador de texto 49">
            <a:extLst>
              <a:ext uri="{FF2B5EF4-FFF2-40B4-BE49-F238E27FC236}">
                <a16:creationId xmlns="" xmlns:a16="http://schemas.microsoft.com/office/drawing/2014/main" id="{B1E462D8-2796-1E4A-955E-374B96D09A5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825062" y="1328808"/>
            <a:ext cx="4345200" cy="245316"/>
          </a:xfrm>
          <a:noFill/>
        </p:spPr>
        <p:txBody>
          <a:bodyPr>
            <a:noAutofit/>
          </a:bodyPr>
          <a:lstStyle>
            <a:lvl1pPr marL="0" indent="0">
              <a:buNone/>
              <a:defRPr sz="1300" b="1"/>
            </a:lvl1pPr>
          </a:lstStyle>
          <a:p>
            <a:pPr lvl="0"/>
            <a:r>
              <a:rPr lang="es-ES" dirty="0"/>
              <a:t>Texto</a:t>
            </a:r>
          </a:p>
        </p:txBody>
      </p:sp>
    </p:spTree>
    <p:extLst>
      <p:ext uri="{BB962C8B-B14F-4D97-AF65-F5344CB8AC3E}">
        <p14:creationId xmlns:p14="http://schemas.microsoft.com/office/powerpoint/2010/main" val="29194134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ortada con f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magen que contiene fábrica, exterior, moto acuática, edificio&#10;&#10;Descripción generada automáticamente">
            <a:extLst>
              <a:ext uri="{FF2B5EF4-FFF2-40B4-BE49-F238E27FC236}">
                <a16:creationId xmlns="" xmlns:a16="http://schemas.microsoft.com/office/drawing/2014/main" id="{524F57FB-FFCF-3249-91AB-3A11BFDD26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 amt="8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19" r="5852"/>
          <a:stretch/>
        </p:blipFill>
        <p:spPr>
          <a:xfrm>
            <a:off x="0" y="0"/>
            <a:ext cx="10452100" cy="6858000"/>
          </a:xfrm>
          <a:prstGeom prst="rect">
            <a:avLst/>
          </a:prstGeom>
        </p:spPr>
      </p:pic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25505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sociación Chilena de Seguridad…">
            <a:extLst>
              <a:ext uri="{FF2B5EF4-FFF2-40B4-BE49-F238E27FC236}">
                <a16:creationId xmlns="" xmlns:a16="http://schemas.microsoft.com/office/drawing/2014/main" id="{FF98E1B1-3B0B-3241-93AC-BE8D1054EBCA}"/>
              </a:ext>
            </a:extLst>
          </p:cNvPr>
          <p:cNvSpPr txBox="1"/>
          <p:nvPr userDrawn="1"/>
        </p:nvSpPr>
        <p:spPr>
          <a:xfrm>
            <a:off x="10918982" y="6130615"/>
            <a:ext cx="943790" cy="5498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>
              <a:spcBef>
                <a:spcPts val="600"/>
              </a:spcBef>
              <a:defRPr sz="3000" b="1">
                <a:solidFill>
                  <a:srgbClr val="79B02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CL" sz="1200" noProof="0" dirty="0">
                <a:solidFill>
                  <a:srgbClr val="106737"/>
                </a:solidFill>
              </a:rPr>
              <a:t>Asociación</a:t>
            </a:r>
            <a:r>
              <a:rPr sz="1200" dirty="0">
                <a:solidFill>
                  <a:srgbClr val="106737"/>
                </a:solidFill>
              </a:rPr>
              <a:t> </a:t>
            </a:r>
            <a:r>
              <a:rPr lang="es-CL" sz="1200" noProof="0" dirty="0">
                <a:solidFill>
                  <a:srgbClr val="106737"/>
                </a:solidFill>
              </a:rPr>
              <a:t>Chilena</a:t>
            </a:r>
            <a:r>
              <a:rPr sz="1200" dirty="0">
                <a:solidFill>
                  <a:srgbClr val="106737"/>
                </a:solidFill>
              </a:rPr>
              <a:t> de </a:t>
            </a:r>
            <a:r>
              <a:rPr lang="es-CL" sz="1200" noProof="0" dirty="0">
                <a:solidFill>
                  <a:srgbClr val="106737"/>
                </a:solidFill>
              </a:rPr>
              <a:t>Seguridad</a:t>
            </a:r>
          </a:p>
        </p:txBody>
      </p:sp>
      <p:pic>
        <p:nvPicPr>
          <p:cNvPr id="13" name="Imagen 12">
            <a:extLst>
              <a:ext uri="{FF2B5EF4-FFF2-40B4-BE49-F238E27FC236}">
                <a16:creationId xmlns="" xmlns:a16="http://schemas.microsoft.com/office/drawing/2014/main" id="{E516A13A-EE62-714D-B8F2-66374C530E6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938646" y="452438"/>
            <a:ext cx="796227" cy="796227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127" y="6461125"/>
            <a:ext cx="1039662" cy="3968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>
                <a:solidFill>
                  <a:srgbClr val="106737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sp>
        <p:nvSpPr>
          <p:cNvPr id="9" name="Marcador de texto 7">
            <a:extLst>
              <a:ext uri="{FF2B5EF4-FFF2-40B4-BE49-F238E27FC236}">
                <a16:creationId xmlns="" xmlns:a16="http://schemas.microsoft.com/office/drawing/2014/main" id="{7F873C59-711E-8745-86F5-FFE4AD3A688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7128" y="1248665"/>
            <a:ext cx="4891050" cy="130036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  <a:highlight>
                  <a:srgbClr val="106737"/>
                </a:highlight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Arial Bold - 3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1176237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6726">
          <p15:clr>
            <a:srgbClr val="FBAE40"/>
          </p15:clr>
        </p15:guide>
        <p15:guide id="4" orient="horz" pos="4168">
          <p15:clr>
            <a:srgbClr val="FBAE40"/>
          </p15:clr>
        </p15:guide>
        <p15:guide id="5" orient="horz" pos="787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=""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8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=""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sp>
        <p:nvSpPr>
          <p:cNvPr id="19" name="Marcador de tabla 18">
            <a:extLst>
              <a:ext uri="{FF2B5EF4-FFF2-40B4-BE49-F238E27FC236}">
                <a16:creationId xmlns="" xmlns:a16="http://schemas.microsoft.com/office/drawing/2014/main" id="{1D28B62C-983E-6B64-C51E-4075858BEE02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447675" y="3257934"/>
            <a:ext cx="11314113" cy="2907916"/>
          </a:xfrm>
        </p:spPr>
        <p:txBody>
          <a:bodyPr/>
          <a:lstStyle/>
          <a:p>
            <a:endParaRPr lang="es-CL" dirty="0"/>
          </a:p>
        </p:txBody>
      </p:sp>
      <p:sp>
        <p:nvSpPr>
          <p:cNvPr id="20" name="Marcador de texto 34">
            <a:extLst>
              <a:ext uri="{FF2B5EF4-FFF2-40B4-BE49-F238E27FC236}">
                <a16:creationId xmlns="" xmlns:a16="http://schemas.microsoft.com/office/drawing/2014/main" id="{90DA9BC0-A64A-6ECE-0C7F-2284D779AC2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2913" y="1584487"/>
            <a:ext cx="2967502" cy="1307938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21" name="Marcador de texto 31">
            <a:extLst>
              <a:ext uri="{FF2B5EF4-FFF2-40B4-BE49-F238E27FC236}">
                <a16:creationId xmlns="" xmlns:a16="http://schemas.microsoft.com/office/drawing/2014/main" id="{49492AD4-DE20-0966-0185-5B714FD6569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723733" y="1584487"/>
            <a:ext cx="1307939" cy="130793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22" name="Marcador de texto 31">
            <a:extLst>
              <a:ext uri="{FF2B5EF4-FFF2-40B4-BE49-F238E27FC236}">
                <a16:creationId xmlns="" xmlns:a16="http://schemas.microsoft.com/office/drawing/2014/main" id="{39A80EFD-C525-2E33-D67E-BF82215F79D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 rot="5400000">
            <a:off x="3183910" y="1989784"/>
            <a:ext cx="576921" cy="497345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29" name="Marcador de texto 34">
            <a:extLst>
              <a:ext uri="{FF2B5EF4-FFF2-40B4-BE49-F238E27FC236}">
                <a16:creationId xmlns="" xmlns:a16="http://schemas.microsoft.com/office/drawing/2014/main" id="{E0C36208-1CA8-0AF6-C192-788E2E2AA74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05638" y="1584487"/>
            <a:ext cx="2967502" cy="1307938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30" name="Marcador de texto 31">
            <a:extLst>
              <a:ext uri="{FF2B5EF4-FFF2-40B4-BE49-F238E27FC236}">
                <a16:creationId xmlns="" xmlns:a16="http://schemas.microsoft.com/office/drawing/2014/main" id="{8958A367-7109-C383-DA0E-B6409FFF70D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586458" y="1584487"/>
            <a:ext cx="1307939" cy="130793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31" name="Marcador de texto 31">
            <a:extLst>
              <a:ext uri="{FF2B5EF4-FFF2-40B4-BE49-F238E27FC236}">
                <a16:creationId xmlns="" xmlns:a16="http://schemas.microsoft.com/office/drawing/2014/main" id="{66BE90DE-B32A-628F-0F45-46C5CE4F7DA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 rot="5400000">
            <a:off x="7046635" y="1989784"/>
            <a:ext cx="576921" cy="497345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32" name="Marcador de texto 34">
            <a:extLst>
              <a:ext uri="{FF2B5EF4-FFF2-40B4-BE49-F238E27FC236}">
                <a16:creationId xmlns="" xmlns:a16="http://schemas.microsoft.com/office/drawing/2014/main" id="{98A85428-6F8E-9072-22E5-8A132B6C5DE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68364" y="1584487"/>
            <a:ext cx="2967502" cy="1307938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33" name="Marcador de texto 31">
            <a:extLst>
              <a:ext uri="{FF2B5EF4-FFF2-40B4-BE49-F238E27FC236}">
                <a16:creationId xmlns="" xmlns:a16="http://schemas.microsoft.com/office/drawing/2014/main" id="{AE0E2CDA-1B5A-580E-D0C0-E37297A7AC8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449184" y="1584487"/>
            <a:ext cx="1307939" cy="130793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34" name="Marcador de texto 31">
            <a:extLst>
              <a:ext uri="{FF2B5EF4-FFF2-40B4-BE49-F238E27FC236}">
                <a16:creationId xmlns="" xmlns:a16="http://schemas.microsoft.com/office/drawing/2014/main" id="{A8324AF2-4451-61C2-DE34-08C724D6C31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 rot="5400000">
            <a:off x="10909361" y="1989784"/>
            <a:ext cx="576921" cy="497345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082057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=""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2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=""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sp>
        <p:nvSpPr>
          <p:cNvPr id="58" name="Subtítulo 2">
            <a:extLst>
              <a:ext uri="{FF2B5EF4-FFF2-40B4-BE49-F238E27FC236}">
                <a16:creationId xmlns="" xmlns:a16="http://schemas.microsoft.com/office/drawing/2014/main" id="{95C4CA68-C0A6-1A75-A75A-69111116DE3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sp>
        <p:nvSpPr>
          <p:cNvPr id="59" name="Marcador de texto 49">
            <a:extLst>
              <a:ext uri="{FF2B5EF4-FFF2-40B4-BE49-F238E27FC236}">
                <a16:creationId xmlns="" xmlns:a16="http://schemas.microsoft.com/office/drawing/2014/main" id="{4B345620-5EB8-5D07-CDF4-2196916D4F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924132" y="1761467"/>
            <a:ext cx="1714983" cy="229996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60" name="Marcador de texto 49">
            <a:extLst>
              <a:ext uri="{FF2B5EF4-FFF2-40B4-BE49-F238E27FC236}">
                <a16:creationId xmlns="" xmlns:a16="http://schemas.microsoft.com/office/drawing/2014/main" id="{4805B092-F4B5-8A89-7913-16D55E80CF1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914624" y="1761467"/>
            <a:ext cx="1714983" cy="229996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61" name="Marcador de texto 49">
            <a:extLst>
              <a:ext uri="{FF2B5EF4-FFF2-40B4-BE49-F238E27FC236}">
                <a16:creationId xmlns="" xmlns:a16="http://schemas.microsoft.com/office/drawing/2014/main" id="{9CD34FC7-F684-369E-267D-FE6FA317E66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905117" y="1761467"/>
            <a:ext cx="1714983" cy="229996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62" name="Marcador de texto 49">
            <a:extLst>
              <a:ext uri="{FF2B5EF4-FFF2-40B4-BE49-F238E27FC236}">
                <a16:creationId xmlns="" xmlns:a16="http://schemas.microsoft.com/office/drawing/2014/main" id="{F963A36C-AF12-414B-E941-50890D8D9DB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924132" y="2196364"/>
            <a:ext cx="1714983" cy="1232629"/>
          </a:xfr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4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63" name="Marcador de texto 49">
            <a:extLst>
              <a:ext uri="{FF2B5EF4-FFF2-40B4-BE49-F238E27FC236}">
                <a16:creationId xmlns="" xmlns:a16="http://schemas.microsoft.com/office/drawing/2014/main" id="{A493A69E-F006-CBC4-14BA-1B7D411F6AC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914624" y="2196364"/>
            <a:ext cx="1714983" cy="1232629"/>
          </a:xfr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4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64" name="Marcador de texto 49">
            <a:extLst>
              <a:ext uri="{FF2B5EF4-FFF2-40B4-BE49-F238E27FC236}">
                <a16:creationId xmlns="" xmlns:a16="http://schemas.microsoft.com/office/drawing/2014/main" id="{922125E0-E5BD-3E30-0F8B-A00802030FC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905117" y="2196364"/>
            <a:ext cx="1714983" cy="1232629"/>
          </a:xfr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4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65" name="Marcador de texto 49">
            <a:extLst>
              <a:ext uri="{FF2B5EF4-FFF2-40B4-BE49-F238E27FC236}">
                <a16:creationId xmlns="" xmlns:a16="http://schemas.microsoft.com/office/drawing/2014/main" id="{C17793B2-03BD-08AE-128B-E51718FDDB2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924132" y="3556813"/>
            <a:ext cx="1714983" cy="1232629"/>
          </a:xfr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4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66" name="Marcador de texto 49">
            <a:extLst>
              <a:ext uri="{FF2B5EF4-FFF2-40B4-BE49-F238E27FC236}">
                <a16:creationId xmlns="" xmlns:a16="http://schemas.microsoft.com/office/drawing/2014/main" id="{453D821D-AC55-5A01-BBA3-97EADB2FDE5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914624" y="3556813"/>
            <a:ext cx="1714983" cy="1232629"/>
          </a:xfr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4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67" name="Marcador de texto 49">
            <a:extLst>
              <a:ext uri="{FF2B5EF4-FFF2-40B4-BE49-F238E27FC236}">
                <a16:creationId xmlns="" xmlns:a16="http://schemas.microsoft.com/office/drawing/2014/main" id="{ECB52E0A-92A8-5EF1-625C-1E2B5354F9F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905117" y="3556813"/>
            <a:ext cx="1714983" cy="1232629"/>
          </a:xfr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4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68" name="Marcador de texto 49">
            <a:extLst>
              <a:ext uri="{FF2B5EF4-FFF2-40B4-BE49-F238E27FC236}">
                <a16:creationId xmlns="" xmlns:a16="http://schemas.microsoft.com/office/drawing/2014/main" id="{3F01CCC4-52EE-22C2-9D44-6BFE579745D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924132" y="4906111"/>
            <a:ext cx="1714983" cy="1232629"/>
          </a:xfr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4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69" name="Marcador de texto 49">
            <a:extLst>
              <a:ext uri="{FF2B5EF4-FFF2-40B4-BE49-F238E27FC236}">
                <a16:creationId xmlns="" xmlns:a16="http://schemas.microsoft.com/office/drawing/2014/main" id="{9CEB0C03-2BB4-30A2-067F-7C2D1E93597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914624" y="4906111"/>
            <a:ext cx="1714983" cy="1232629"/>
          </a:xfr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4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70" name="Marcador de texto 49">
            <a:extLst>
              <a:ext uri="{FF2B5EF4-FFF2-40B4-BE49-F238E27FC236}">
                <a16:creationId xmlns="" xmlns:a16="http://schemas.microsoft.com/office/drawing/2014/main" id="{C3E77618-4325-F5FE-499C-45BD5160D61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905117" y="4906111"/>
            <a:ext cx="1714983" cy="1232629"/>
          </a:xfrm>
          <a:solidFill>
            <a:schemeClr val="tx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4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71" name="Marcador de texto 34">
            <a:extLst>
              <a:ext uri="{FF2B5EF4-FFF2-40B4-BE49-F238E27FC236}">
                <a16:creationId xmlns="" xmlns:a16="http://schemas.microsoft.com/office/drawing/2014/main" id="{CE272B85-9159-FA71-78A8-21B9FE10300D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 rot="16200000" flipH="1">
            <a:off x="5068797" y="2355407"/>
            <a:ext cx="45719" cy="868824"/>
          </a:xfrm>
          <a:prstGeom prst="downArrow">
            <a:avLst/>
          </a:prstGeom>
          <a:solidFill>
            <a:schemeClr val="tx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   </a:t>
            </a:r>
            <a:endParaRPr lang="es-CL" dirty="0"/>
          </a:p>
        </p:txBody>
      </p:sp>
      <p:sp>
        <p:nvSpPr>
          <p:cNvPr id="72" name="Marcador de texto 34">
            <a:extLst>
              <a:ext uri="{FF2B5EF4-FFF2-40B4-BE49-F238E27FC236}">
                <a16:creationId xmlns="" xmlns:a16="http://schemas.microsoft.com/office/drawing/2014/main" id="{11D99E9E-817C-6D7E-A2BE-89DD822D161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 rot="16200000" flipH="1">
            <a:off x="5068798" y="3727008"/>
            <a:ext cx="45719" cy="868824"/>
          </a:xfrm>
          <a:prstGeom prst="downArrow">
            <a:avLst/>
          </a:prstGeom>
          <a:solidFill>
            <a:schemeClr val="tx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   </a:t>
            </a:r>
            <a:endParaRPr lang="es-CL" dirty="0"/>
          </a:p>
        </p:txBody>
      </p:sp>
      <p:sp>
        <p:nvSpPr>
          <p:cNvPr id="73" name="Marcador de texto 34">
            <a:extLst>
              <a:ext uri="{FF2B5EF4-FFF2-40B4-BE49-F238E27FC236}">
                <a16:creationId xmlns="" xmlns:a16="http://schemas.microsoft.com/office/drawing/2014/main" id="{00F65F61-D1F6-1F4E-575A-A425488713D2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 rot="16200000" flipH="1">
            <a:off x="5068799" y="5109242"/>
            <a:ext cx="45719" cy="868824"/>
          </a:xfrm>
          <a:prstGeom prst="downArrow">
            <a:avLst/>
          </a:prstGeom>
          <a:solidFill>
            <a:schemeClr val="tx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   </a:t>
            </a:r>
            <a:endParaRPr lang="es-CL" dirty="0"/>
          </a:p>
        </p:txBody>
      </p:sp>
      <p:sp>
        <p:nvSpPr>
          <p:cNvPr id="74" name="Marcador de texto 49">
            <a:extLst>
              <a:ext uri="{FF2B5EF4-FFF2-40B4-BE49-F238E27FC236}">
                <a16:creationId xmlns="" xmlns:a16="http://schemas.microsoft.com/office/drawing/2014/main" id="{636F64CA-18E8-BF09-DD60-E08C4128683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766802" y="2196364"/>
            <a:ext cx="2614932" cy="1232629"/>
          </a:xfrm>
          <a:noFill/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75" name="Marcador de texto 49">
            <a:extLst>
              <a:ext uri="{FF2B5EF4-FFF2-40B4-BE49-F238E27FC236}">
                <a16:creationId xmlns="" xmlns:a16="http://schemas.microsoft.com/office/drawing/2014/main" id="{A3BA2335-2FFB-08E3-1335-E3252122ABB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766802" y="3556813"/>
            <a:ext cx="2614932" cy="1232629"/>
          </a:xfrm>
          <a:noFill/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76" name="Marcador de texto 49">
            <a:extLst>
              <a:ext uri="{FF2B5EF4-FFF2-40B4-BE49-F238E27FC236}">
                <a16:creationId xmlns="" xmlns:a16="http://schemas.microsoft.com/office/drawing/2014/main" id="{DE00BC1C-834A-9980-3BCA-F908E7F0CF4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766802" y="4906111"/>
            <a:ext cx="2614932" cy="1232629"/>
          </a:xfrm>
          <a:noFill/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77" name="Marcador de posición de imagen 86">
            <a:extLst>
              <a:ext uri="{FF2B5EF4-FFF2-40B4-BE49-F238E27FC236}">
                <a16:creationId xmlns="" xmlns:a16="http://schemas.microsoft.com/office/drawing/2014/main" id="{64DAE33A-150D-57A3-70D3-CD27D0B39520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94108" y="2330078"/>
            <a:ext cx="963613" cy="965200"/>
          </a:xfrm>
        </p:spPr>
        <p:txBody>
          <a:bodyPr/>
          <a:lstStyle>
            <a:lvl1pPr>
              <a:defRPr/>
            </a:lvl1pPr>
          </a:lstStyle>
          <a:p>
            <a:r>
              <a:rPr lang="es-ES" dirty="0"/>
              <a:t>ícono</a:t>
            </a:r>
            <a:endParaRPr lang="es-CL" dirty="0"/>
          </a:p>
        </p:txBody>
      </p:sp>
      <p:sp>
        <p:nvSpPr>
          <p:cNvPr id="78" name="Marcador de posición de imagen 86">
            <a:extLst>
              <a:ext uri="{FF2B5EF4-FFF2-40B4-BE49-F238E27FC236}">
                <a16:creationId xmlns="" xmlns:a16="http://schemas.microsoft.com/office/drawing/2014/main" id="{ECCD658C-2175-3803-0038-475F5236EF34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494108" y="3701680"/>
            <a:ext cx="963613" cy="965200"/>
          </a:xfrm>
        </p:spPr>
        <p:txBody>
          <a:bodyPr/>
          <a:lstStyle>
            <a:lvl1pPr>
              <a:defRPr/>
            </a:lvl1pPr>
          </a:lstStyle>
          <a:p>
            <a:r>
              <a:rPr lang="es-ES" dirty="0"/>
              <a:t>ícono</a:t>
            </a:r>
            <a:endParaRPr lang="es-CL" dirty="0"/>
          </a:p>
        </p:txBody>
      </p:sp>
      <p:sp>
        <p:nvSpPr>
          <p:cNvPr id="79" name="Marcador de posición de imagen 86">
            <a:extLst>
              <a:ext uri="{FF2B5EF4-FFF2-40B4-BE49-F238E27FC236}">
                <a16:creationId xmlns="" xmlns:a16="http://schemas.microsoft.com/office/drawing/2014/main" id="{92A05F97-2D3F-CDB4-311A-DC950928EBF3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494108" y="5062645"/>
            <a:ext cx="963613" cy="965200"/>
          </a:xfrm>
        </p:spPr>
        <p:txBody>
          <a:bodyPr/>
          <a:lstStyle>
            <a:lvl1pPr>
              <a:defRPr/>
            </a:lvl1pPr>
          </a:lstStyle>
          <a:p>
            <a:r>
              <a:rPr lang="es-ES" dirty="0"/>
              <a:t>ícono</a:t>
            </a:r>
            <a:endParaRPr lang="es-CL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59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60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437033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=""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6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=""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sp>
        <p:nvSpPr>
          <p:cNvPr id="42" name="Subtítulo 2">
            <a:extLst>
              <a:ext uri="{FF2B5EF4-FFF2-40B4-BE49-F238E27FC236}">
                <a16:creationId xmlns="" xmlns:a16="http://schemas.microsoft.com/office/drawing/2014/main" id="{83F15F5D-7D92-97D5-8099-701EAA3649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sp>
        <p:nvSpPr>
          <p:cNvPr id="43" name="Marcador de texto 49">
            <a:extLst>
              <a:ext uri="{FF2B5EF4-FFF2-40B4-BE49-F238E27FC236}">
                <a16:creationId xmlns="" xmlns:a16="http://schemas.microsoft.com/office/drawing/2014/main" id="{1EDF05D4-9A65-EF9A-522C-6318F25B043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1504" y="1852612"/>
            <a:ext cx="11121820" cy="1097208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44" name="Marcador de texto 49">
            <a:extLst>
              <a:ext uri="{FF2B5EF4-FFF2-40B4-BE49-F238E27FC236}">
                <a16:creationId xmlns="" xmlns:a16="http://schemas.microsoft.com/office/drawing/2014/main" id="{9EC0A742-FAE7-EB7C-074F-338B3CA3D6F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41504" y="3270847"/>
            <a:ext cx="11121820" cy="234291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45" name="Marcador de texto 49">
            <a:extLst>
              <a:ext uri="{FF2B5EF4-FFF2-40B4-BE49-F238E27FC236}">
                <a16:creationId xmlns="" xmlns:a16="http://schemas.microsoft.com/office/drawing/2014/main" id="{A38F46DD-F13F-9EA0-4D70-156B93AB0A4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1504" y="4593265"/>
            <a:ext cx="1912506" cy="1524846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46" name="Marcador de texto 49">
            <a:extLst>
              <a:ext uri="{FF2B5EF4-FFF2-40B4-BE49-F238E27FC236}">
                <a16:creationId xmlns="" xmlns:a16="http://schemas.microsoft.com/office/drawing/2014/main" id="{B2B6EF5F-B4EB-6934-ECD5-C2A36A84A8C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796807" y="4593265"/>
            <a:ext cx="1912506" cy="1524846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47" name="Marcador de texto 49">
            <a:extLst>
              <a:ext uri="{FF2B5EF4-FFF2-40B4-BE49-F238E27FC236}">
                <a16:creationId xmlns="" xmlns:a16="http://schemas.microsoft.com/office/drawing/2014/main" id="{C8100423-846E-4126-FB92-9B3114D4169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1097" y="4593265"/>
            <a:ext cx="1912506" cy="1524846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48" name="Marcador de texto 49">
            <a:extLst>
              <a:ext uri="{FF2B5EF4-FFF2-40B4-BE49-F238E27FC236}">
                <a16:creationId xmlns="" xmlns:a16="http://schemas.microsoft.com/office/drawing/2014/main" id="{051DCBF7-6C95-9680-0904-0D5E5E38057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505387" y="4593265"/>
            <a:ext cx="1912506" cy="1524846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49" name="Marcador de texto 49">
            <a:extLst>
              <a:ext uri="{FF2B5EF4-FFF2-40B4-BE49-F238E27FC236}">
                <a16:creationId xmlns="" xmlns:a16="http://schemas.microsoft.com/office/drawing/2014/main" id="{007F1483-B57C-B30C-EE92-81E42BC2D55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862715" y="4593265"/>
            <a:ext cx="1912506" cy="1524846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50" name="Marcador de texto 34">
            <a:extLst>
              <a:ext uri="{FF2B5EF4-FFF2-40B4-BE49-F238E27FC236}">
                <a16:creationId xmlns="" xmlns:a16="http://schemas.microsoft.com/office/drawing/2014/main" id="{6FB6EE8B-F2BD-25A3-0B74-0CB25E3DEA9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96807" y="3685085"/>
            <a:ext cx="1587571" cy="695335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Paso N</a:t>
            </a:r>
            <a:endParaRPr lang="es-CL" dirty="0"/>
          </a:p>
        </p:txBody>
      </p:sp>
      <p:sp>
        <p:nvSpPr>
          <p:cNvPr id="51" name="Marcador de texto 31">
            <a:extLst>
              <a:ext uri="{FF2B5EF4-FFF2-40B4-BE49-F238E27FC236}">
                <a16:creationId xmlns="" xmlns:a16="http://schemas.microsoft.com/office/drawing/2014/main" id="{9262D7D3-F97F-8E58-4966-FA703805520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13977" y="3685085"/>
            <a:ext cx="695336" cy="69533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52" name="Marcador de texto 31">
            <a:extLst>
              <a:ext uri="{FF2B5EF4-FFF2-40B4-BE49-F238E27FC236}">
                <a16:creationId xmlns="" xmlns:a16="http://schemas.microsoft.com/office/drawing/2014/main" id="{24420A78-BBAD-C2C0-9FC0-AA634D4B5CC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 rot="5400000">
            <a:off x="4233066" y="3888500"/>
            <a:ext cx="358759" cy="309274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53" name="Marcador de texto 34">
            <a:extLst>
              <a:ext uri="{FF2B5EF4-FFF2-40B4-BE49-F238E27FC236}">
                <a16:creationId xmlns="" xmlns:a16="http://schemas.microsoft.com/office/drawing/2014/main" id="{5D79030A-41CF-6F08-1065-47605D0AAAA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2517" y="3685085"/>
            <a:ext cx="1587571" cy="695335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Paso N</a:t>
            </a:r>
            <a:endParaRPr lang="es-CL" dirty="0"/>
          </a:p>
        </p:txBody>
      </p:sp>
      <p:sp>
        <p:nvSpPr>
          <p:cNvPr id="54" name="Marcador de texto 31">
            <a:extLst>
              <a:ext uri="{FF2B5EF4-FFF2-40B4-BE49-F238E27FC236}">
                <a16:creationId xmlns="" xmlns:a16="http://schemas.microsoft.com/office/drawing/2014/main" id="{9462DC54-CBF9-6B45-2B2C-2148284DB57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659687" y="3685085"/>
            <a:ext cx="695336" cy="69533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55" name="Marcador de texto 31">
            <a:extLst>
              <a:ext uri="{FF2B5EF4-FFF2-40B4-BE49-F238E27FC236}">
                <a16:creationId xmlns="" xmlns:a16="http://schemas.microsoft.com/office/drawing/2014/main" id="{A658DC09-3F35-A814-365C-D35FDB5313B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 rot="5400000">
            <a:off x="1878776" y="3888500"/>
            <a:ext cx="358759" cy="309274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56" name="Marcador de texto 34">
            <a:extLst>
              <a:ext uri="{FF2B5EF4-FFF2-40B4-BE49-F238E27FC236}">
                <a16:creationId xmlns="" xmlns:a16="http://schemas.microsoft.com/office/drawing/2014/main" id="{4C77BC8D-3998-BB26-47BA-C708BD55605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505387" y="3685085"/>
            <a:ext cx="1587571" cy="695335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Paso N</a:t>
            </a:r>
            <a:endParaRPr lang="es-CL" dirty="0"/>
          </a:p>
        </p:txBody>
      </p:sp>
      <p:sp>
        <p:nvSpPr>
          <p:cNvPr id="57" name="Marcador de texto 31">
            <a:extLst>
              <a:ext uri="{FF2B5EF4-FFF2-40B4-BE49-F238E27FC236}">
                <a16:creationId xmlns="" xmlns:a16="http://schemas.microsoft.com/office/drawing/2014/main" id="{274D0C8D-1C32-F531-C87A-BA0BED3441C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722557" y="3685085"/>
            <a:ext cx="695336" cy="69533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58" name="Marcador de texto 31">
            <a:extLst>
              <a:ext uri="{FF2B5EF4-FFF2-40B4-BE49-F238E27FC236}">
                <a16:creationId xmlns="" xmlns:a16="http://schemas.microsoft.com/office/drawing/2014/main" id="{1819C0FF-910E-6355-8D27-D63208863DB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 rot="5400000">
            <a:off x="8941646" y="3883308"/>
            <a:ext cx="358759" cy="309274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59" name="Marcador de texto 34">
            <a:extLst>
              <a:ext uri="{FF2B5EF4-FFF2-40B4-BE49-F238E27FC236}">
                <a16:creationId xmlns="" xmlns:a16="http://schemas.microsoft.com/office/drawing/2014/main" id="{09D34F02-4612-0DA0-8199-D17D801331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151097" y="3685085"/>
            <a:ext cx="1587571" cy="695335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Paso N</a:t>
            </a:r>
            <a:endParaRPr lang="es-CL" dirty="0"/>
          </a:p>
        </p:txBody>
      </p:sp>
      <p:sp>
        <p:nvSpPr>
          <p:cNvPr id="60" name="Marcador de texto 31">
            <a:extLst>
              <a:ext uri="{FF2B5EF4-FFF2-40B4-BE49-F238E27FC236}">
                <a16:creationId xmlns="" xmlns:a16="http://schemas.microsoft.com/office/drawing/2014/main" id="{C3946606-FE5E-4257-2A70-3B1EE8D3D68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368267" y="3685085"/>
            <a:ext cx="695336" cy="69533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61" name="Marcador de texto 31">
            <a:extLst>
              <a:ext uri="{FF2B5EF4-FFF2-40B4-BE49-F238E27FC236}">
                <a16:creationId xmlns="" xmlns:a16="http://schemas.microsoft.com/office/drawing/2014/main" id="{7A1297C7-876A-2CAE-B2A0-78ACA462B8A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 rot="5400000">
            <a:off x="6587356" y="3888500"/>
            <a:ext cx="358759" cy="309274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62" name="Marcador de texto 34">
            <a:extLst>
              <a:ext uri="{FF2B5EF4-FFF2-40B4-BE49-F238E27FC236}">
                <a16:creationId xmlns="" xmlns:a16="http://schemas.microsoft.com/office/drawing/2014/main" id="{FD04A436-8FFE-C6D0-880E-D7B4CB3783C5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859677" y="3685085"/>
            <a:ext cx="1587571" cy="695335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Paso N</a:t>
            </a:r>
            <a:endParaRPr lang="es-CL" dirty="0"/>
          </a:p>
        </p:txBody>
      </p:sp>
      <p:sp>
        <p:nvSpPr>
          <p:cNvPr id="63" name="Marcador de texto 31">
            <a:extLst>
              <a:ext uri="{FF2B5EF4-FFF2-40B4-BE49-F238E27FC236}">
                <a16:creationId xmlns="" xmlns:a16="http://schemas.microsoft.com/office/drawing/2014/main" id="{EBEBCBEE-CE4C-981A-D59E-FF13E67B62F3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076847" y="3685085"/>
            <a:ext cx="695336" cy="69533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64" name="Marcador de texto 31">
            <a:extLst>
              <a:ext uri="{FF2B5EF4-FFF2-40B4-BE49-F238E27FC236}">
                <a16:creationId xmlns="" xmlns:a16="http://schemas.microsoft.com/office/drawing/2014/main" id="{7D3423CD-D5FE-E127-9746-BA101CE3EBAD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 rot="5400000">
            <a:off x="11295936" y="3883306"/>
            <a:ext cx="358759" cy="309274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49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0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73059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=""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0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=""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sp>
        <p:nvSpPr>
          <p:cNvPr id="42" name="Subtítulo 2">
            <a:extLst>
              <a:ext uri="{FF2B5EF4-FFF2-40B4-BE49-F238E27FC236}">
                <a16:creationId xmlns="" xmlns:a16="http://schemas.microsoft.com/office/drawing/2014/main" id="{83F15F5D-7D92-97D5-8099-701EAA3649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cxnSp>
        <p:nvCxnSpPr>
          <p:cNvPr id="71" name="Conector recto 70">
            <a:extLst>
              <a:ext uri="{FF2B5EF4-FFF2-40B4-BE49-F238E27FC236}">
                <a16:creationId xmlns="" xmlns:a16="http://schemas.microsoft.com/office/drawing/2014/main" id="{741D0EF4-A454-9693-96B3-EB35A488F9ED}"/>
              </a:ext>
            </a:extLst>
          </p:cNvPr>
          <p:cNvCxnSpPr>
            <a:cxnSpLocks/>
          </p:cNvCxnSpPr>
          <p:nvPr userDrawn="1"/>
        </p:nvCxnSpPr>
        <p:spPr>
          <a:xfrm>
            <a:off x="425229" y="4618032"/>
            <a:ext cx="11341542" cy="0"/>
          </a:xfrm>
          <a:prstGeom prst="line">
            <a:avLst/>
          </a:prstGeom>
          <a:ln w="19050">
            <a:solidFill>
              <a:schemeClr val="accent3">
                <a:lumMod val="75000"/>
                <a:lumOff val="2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ector recto 71">
            <a:extLst>
              <a:ext uri="{FF2B5EF4-FFF2-40B4-BE49-F238E27FC236}">
                <a16:creationId xmlns="" xmlns:a16="http://schemas.microsoft.com/office/drawing/2014/main" id="{80C8DCC1-8E32-D573-93B5-E5E71C01DC3E}"/>
              </a:ext>
            </a:extLst>
          </p:cNvPr>
          <p:cNvCxnSpPr>
            <a:cxnSpLocks/>
          </p:cNvCxnSpPr>
          <p:nvPr userDrawn="1"/>
        </p:nvCxnSpPr>
        <p:spPr>
          <a:xfrm>
            <a:off x="425229" y="2841684"/>
            <a:ext cx="11341542" cy="0"/>
          </a:xfrm>
          <a:prstGeom prst="line">
            <a:avLst/>
          </a:prstGeom>
          <a:ln w="19050">
            <a:solidFill>
              <a:schemeClr val="accent3">
                <a:lumMod val="75000"/>
                <a:lumOff val="2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Marcador de texto 49">
            <a:extLst>
              <a:ext uri="{FF2B5EF4-FFF2-40B4-BE49-F238E27FC236}">
                <a16:creationId xmlns="" xmlns:a16="http://schemas.microsoft.com/office/drawing/2014/main" id="{6DEDFD75-191B-5433-8A93-041B19A7668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41504" y="1845031"/>
            <a:ext cx="1096842" cy="687850"/>
          </a:xfrm>
          <a:noFill/>
        </p:spPr>
        <p:txBody>
          <a:bodyPr lIns="0" tIns="0" rIns="0" bIns="0" anchor="ctr">
            <a:noAutofit/>
          </a:bodyPr>
          <a:lstStyle>
            <a:lvl1pPr marL="0" indent="0" algn="r">
              <a:buNone/>
              <a:defRPr sz="12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99" name="Marcador de texto 49">
            <a:extLst>
              <a:ext uri="{FF2B5EF4-FFF2-40B4-BE49-F238E27FC236}">
                <a16:creationId xmlns="" xmlns:a16="http://schemas.microsoft.com/office/drawing/2014/main" id="{AB8400E2-DEE0-612A-CAEF-BF0BD01222B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1504" y="3043549"/>
            <a:ext cx="1096842" cy="1346140"/>
          </a:xfrm>
          <a:noFill/>
        </p:spPr>
        <p:txBody>
          <a:bodyPr lIns="0" tIns="0" rIns="0" bIns="0" anchor="t">
            <a:noAutofit/>
          </a:bodyPr>
          <a:lstStyle>
            <a:lvl1pPr marL="0" indent="0" algn="r">
              <a:buNone/>
              <a:defRPr sz="12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101" name="Marcador de texto 49">
            <a:extLst>
              <a:ext uri="{FF2B5EF4-FFF2-40B4-BE49-F238E27FC236}">
                <a16:creationId xmlns="" xmlns:a16="http://schemas.microsoft.com/office/drawing/2014/main" id="{18175F41-C149-7CEE-9D6D-8988CF54016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823989" y="3043549"/>
            <a:ext cx="1739099" cy="1346140"/>
          </a:xfrm>
          <a:noFill/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102" name="Marcador de texto 49">
            <a:extLst>
              <a:ext uri="{FF2B5EF4-FFF2-40B4-BE49-F238E27FC236}">
                <a16:creationId xmlns="" xmlns:a16="http://schemas.microsoft.com/office/drawing/2014/main" id="{F76222A7-5D3E-DF79-FEE5-C43F157EE2D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837846" y="3043549"/>
            <a:ext cx="1739099" cy="1346140"/>
          </a:xfrm>
          <a:noFill/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103" name="Marcador de texto 49">
            <a:extLst>
              <a:ext uri="{FF2B5EF4-FFF2-40B4-BE49-F238E27FC236}">
                <a16:creationId xmlns="" xmlns:a16="http://schemas.microsoft.com/office/drawing/2014/main" id="{8822C92A-57F0-6DC8-D633-18326136469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851704" y="3043549"/>
            <a:ext cx="1739099" cy="1346140"/>
          </a:xfrm>
          <a:noFill/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104" name="Marcador de texto 49">
            <a:extLst>
              <a:ext uri="{FF2B5EF4-FFF2-40B4-BE49-F238E27FC236}">
                <a16:creationId xmlns="" xmlns:a16="http://schemas.microsoft.com/office/drawing/2014/main" id="{9CF0A07A-A25B-18DD-F296-D1EE050CFD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865561" y="3043549"/>
            <a:ext cx="1739099" cy="1346140"/>
          </a:xfrm>
          <a:noFill/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105" name="Marcador de texto 49">
            <a:extLst>
              <a:ext uri="{FF2B5EF4-FFF2-40B4-BE49-F238E27FC236}">
                <a16:creationId xmlns="" xmlns:a16="http://schemas.microsoft.com/office/drawing/2014/main" id="{7E086824-B1E6-863B-115B-992F9552FFE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901189" y="3043549"/>
            <a:ext cx="1739099" cy="1346140"/>
          </a:xfrm>
          <a:noFill/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106" name="Marcador de texto 49">
            <a:extLst>
              <a:ext uri="{FF2B5EF4-FFF2-40B4-BE49-F238E27FC236}">
                <a16:creationId xmlns="" xmlns:a16="http://schemas.microsoft.com/office/drawing/2014/main" id="{02F58401-D79F-01A9-8535-47C943032A8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1504" y="4807033"/>
            <a:ext cx="1096842" cy="1358817"/>
          </a:xfrm>
          <a:noFill/>
        </p:spPr>
        <p:txBody>
          <a:bodyPr lIns="0" tIns="0" rIns="0" bIns="0" anchor="t">
            <a:noAutofit/>
          </a:bodyPr>
          <a:lstStyle>
            <a:lvl1pPr marL="0" indent="0" algn="r">
              <a:buNone/>
              <a:defRPr sz="12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107" name="Marcador de texto 49">
            <a:extLst>
              <a:ext uri="{FF2B5EF4-FFF2-40B4-BE49-F238E27FC236}">
                <a16:creationId xmlns="" xmlns:a16="http://schemas.microsoft.com/office/drawing/2014/main" id="{BB5BE137-48E8-1B34-B29C-90826849C2A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23989" y="4807033"/>
            <a:ext cx="1739099" cy="1358817"/>
          </a:xfrm>
          <a:noFill/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108" name="Marcador de texto 49">
            <a:extLst>
              <a:ext uri="{FF2B5EF4-FFF2-40B4-BE49-F238E27FC236}">
                <a16:creationId xmlns="" xmlns:a16="http://schemas.microsoft.com/office/drawing/2014/main" id="{5DB61E90-DA8C-3626-BA68-7880929F288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37846" y="4807033"/>
            <a:ext cx="1739099" cy="1358817"/>
          </a:xfrm>
          <a:noFill/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109" name="Marcador de texto 49">
            <a:extLst>
              <a:ext uri="{FF2B5EF4-FFF2-40B4-BE49-F238E27FC236}">
                <a16:creationId xmlns="" xmlns:a16="http://schemas.microsoft.com/office/drawing/2014/main" id="{F09B4558-4E22-C2A5-6537-FC8F84644E3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851704" y="4807033"/>
            <a:ext cx="1739099" cy="1358817"/>
          </a:xfrm>
          <a:noFill/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110" name="Marcador de texto 49">
            <a:extLst>
              <a:ext uri="{FF2B5EF4-FFF2-40B4-BE49-F238E27FC236}">
                <a16:creationId xmlns="" xmlns:a16="http://schemas.microsoft.com/office/drawing/2014/main" id="{36225E52-2698-D4B6-3679-8FB9D9442C1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865561" y="4807033"/>
            <a:ext cx="1739099" cy="1358817"/>
          </a:xfrm>
          <a:noFill/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111" name="Marcador de texto 49">
            <a:extLst>
              <a:ext uri="{FF2B5EF4-FFF2-40B4-BE49-F238E27FC236}">
                <a16:creationId xmlns="" xmlns:a16="http://schemas.microsoft.com/office/drawing/2014/main" id="{26DBC50C-7CB2-01A8-CAEF-7D0E5C74280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901189" y="4807033"/>
            <a:ext cx="1739099" cy="1358817"/>
          </a:xfrm>
          <a:noFill/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112" name="Marcador de texto 34">
            <a:extLst>
              <a:ext uri="{FF2B5EF4-FFF2-40B4-BE49-F238E27FC236}">
                <a16:creationId xmlns="" xmlns:a16="http://schemas.microsoft.com/office/drawing/2014/main" id="{3DE6E347-945C-C2AE-C158-BA8B93A5FD9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823989" y="1845031"/>
            <a:ext cx="1480755" cy="695335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Paso N</a:t>
            </a:r>
            <a:endParaRPr lang="es-CL" dirty="0"/>
          </a:p>
        </p:txBody>
      </p:sp>
      <p:sp>
        <p:nvSpPr>
          <p:cNvPr id="113" name="Marcador de texto 31">
            <a:extLst>
              <a:ext uri="{FF2B5EF4-FFF2-40B4-BE49-F238E27FC236}">
                <a16:creationId xmlns="" xmlns:a16="http://schemas.microsoft.com/office/drawing/2014/main" id="{1BFDB0B7-74AE-DC00-197F-C769BF64E8F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933770" y="1845031"/>
            <a:ext cx="695336" cy="69533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114" name="Marcador de texto 31">
            <a:extLst>
              <a:ext uri="{FF2B5EF4-FFF2-40B4-BE49-F238E27FC236}">
                <a16:creationId xmlns="" xmlns:a16="http://schemas.microsoft.com/office/drawing/2014/main" id="{B2C4A5B3-98BC-57C2-4B20-F7099DF6057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 rot="5400000">
            <a:off x="3153432" y="2043252"/>
            <a:ext cx="358759" cy="309274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115" name="Marcador de texto 34">
            <a:extLst>
              <a:ext uri="{FF2B5EF4-FFF2-40B4-BE49-F238E27FC236}">
                <a16:creationId xmlns="" xmlns:a16="http://schemas.microsoft.com/office/drawing/2014/main" id="{92D4A22C-6CE5-67A8-FB57-62A980376075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816075" y="1845031"/>
            <a:ext cx="1480755" cy="695335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Paso N</a:t>
            </a:r>
            <a:endParaRPr lang="es-CL" dirty="0"/>
          </a:p>
        </p:txBody>
      </p:sp>
      <p:sp>
        <p:nvSpPr>
          <p:cNvPr id="116" name="Marcador de texto 31">
            <a:extLst>
              <a:ext uri="{FF2B5EF4-FFF2-40B4-BE49-F238E27FC236}">
                <a16:creationId xmlns="" xmlns:a16="http://schemas.microsoft.com/office/drawing/2014/main" id="{2E1D369B-431A-7907-C56E-0BE3BBCD82A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925856" y="1845031"/>
            <a:ext cx="695336" cy="69533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117" name="Marcador de texto 31">
            <a:extLst>
              <a:ext uri="{FF2B5EF4-FFF2-40B4-BE49-F238E27FC236}">
                <a16:creationId xmlns="" xmlns:a16="http://schemas.microsoft.com/office/drawing/2014/main" id="{23925C27-FA09-DD20-1A3E-88FFFE8273B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 rot="5400000">
            <a:off x="5145518" y="2043252"/>
            <a:ext cx="358759" cy="309274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118" name="Marcador de texto 34">
            <a:extLst>
              <a:ext uri="{FF2B5EF4-FFF2-40B4-BE49-F238E27FC236}">
                <a16:creationId xmlns="" xmlns:a16="http://schemas.microsoft.com/office/drawing/2014/main" id="{D387286E-BBC4-9111-6EC3-C3420C800D32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819047" y="1845031"/>
            <a:ext cx="1480755" cy="695335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Paso N</a:t>
            </a:r>
            <a:endParaRPr lang="es-CL" dirty="0"/>
          </a:p>
        </p:txBody>
      </p:sp>
      <p:sp>
        <p:nvSpPr>
          <p:cNvPr id="119" name="Marcador de texto 31">
            <a:extLst>
              <a:ext uri="{FF2B5EF4-FFF2-40B4-BE49-F238E27FC236}">
                <a16:creationId xmlns="" xmlns:a16="http://schemas.microsoft.com/office/drawing/2014/main" id="{F7A2A1AE-E2EB-7946-69A3-D5C46BFABD7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928828" y="1845031"/>
            <a:ext cx="695336" cy="69533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120" name="Marcador de texto 31">
            <a:extLst>
              <a:ext uri="{FF2B5EF4-FFF2-40B4-BE49-F238E27FC236}">
                <a16:creationId xmlns="" xmlns:a16="http://schemas.microsoft.com/office/drawing/2014/main" id="{B63A5D2F-E6C6-B236-E1D7-20E9C7A0F23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 rot="5400000">
            <a:off x="7148490" y="2043252"/>
            <a:ext cx="358759" cy="309274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121" name="Marcador de texto 34">
            <a:extLst>
              <a:ext uri="{FF2B5EF4-FFF2-40B4-BE49-F238E27FC236}">
                <a16:creationId xmlns="" xmlns:a16="http://schemas.microsoft.com/office/drawing/2014/main" id="{F8776F97-031B-D906-567B-1FEC6389BA39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832903" y="1845031"/>
            <a:ext cx="1480755" cy="695335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Paso N</a:t>
            </a:r>
            <a:endParaRPr lang="es-CL" dirty="0"/>
          </a:p>
        </p:txBody>
      </p:sp>
      <p:sp>
        <p:nvSpPr>
          <p:cNvPr id="122" name="Marcador de texto 31">
            <a:extLst>
              <a:ext uri="{FF2B5EF4-FFF2-40B4-BE49-F238E27FC236}">
                <a16:creationId xmlns="" xmlns:a16="http://schemas.microsoft.com/office/drawing/2014/main" id="{DCE77E0A-009F-F055-2F05-D80E447A19DA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943257" y="1845032"/>
            <a:ext cx="695336" cy="69533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123" name="Marcador de texto 31">
            <a:extLst>
              <a:ext uri="{FF2B5EF4-FFF2-40B4-BE49-F238E27FC236}">
                <a16:creationId xmlns="" xmlns:a16="http://schemas.microsoft.com/office/drawing/2014/main" id="{5F20345A-92C5-AFDD-249F-C08C7D841765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 rot="5400000">
            <a:off x="9162346" y="2043252"/>
            <a:ext cx="358759" cy="309274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124" name="Marcador de texto 34">
            <a:extLst>
              <a:ext uri="{FF2B5EF4-FFF2-40B4-BE49-F238E27FC236}">
                <a16:creationId xmlns="" xmlns:a16="http://schemas.microsoft.com/office/drawing/2014/main" id="{8A7DA05E-4214-ACB7-84DC-15C4785A7A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9835875" y="1845031"/>
            <a:ext cx="1480755" cy="695335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Paso N</a:t>
            </a:r>
            <a:endParaRPr lang="es-CL" dirty="0"/>
          </a:p>
        </p:txBody>
      </p:sp>
      <p:sp>
        <p:nvSpPr>
          <p:cNvPr id="125" name="Marcador de texto 31">
            <a:extLst>
              <a:ext uri="{FF2B5EF4-FFF2-40B4-BE49-F238E27FC236}">
                <a16:creationId xmlns="" xmlns:a16="http://schemas.microsoft.com/office/drawing/2014/main" id="{62D4C8C1-655D-5077-0810-BC666D85D4F4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0946229" y="1845032"/>
            <a:ext cx="695336" cy="69533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126" name="Marcador de texto 31">
            <a:extLst>
              <a:ext uri="{FF2B5EF4-FFF2-40B4-BE49-F238E27FC236}">
                <a16:creationId xmlns="" xmlns:a16="http://schemas.microsoft.com/office/drawing/2014/main" id="{D8DFB641-0A4A-DCF0-FC96-1FF7FE7F0EBC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 rot="5400000">
            <a:off x="11165318" y="2043252"/>
            <a:ext cx="358759" cy="309274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58"/>
          </p:nvPr>
        </p:nvSpPr>
        <p:spPr>
          <a:xfrm>
            <a:off x="447578" y="6474653"/>
            <a:ext cx="10953109" cy="230929"/>
          </a:xfrm>
        </p:spPr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9"/>
          </p:nvPr>
        </p:nvSpPr>
        <p:spPr>
          <a:xfrm>
            <a:off x="11531291" y="6474653"/>
            <a:ext cx="505443" cy="230643"/>
          </a:xfrm>
        </p:spPr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831320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=""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4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=""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sp>
        <p:nvSpPr>
          <p:cNvPr id="46" name="Marcador de texto 34">
            <a:extLst>
              <a:ext uri="{FF2B5EF4-FFF2-40B4-BE49-F238E27FC236}">
                <a16:creationId xmlns="" xmlns:a16="http://schemas.microsoft.com/office/drawing/2014/main" id="{F162C46A-EB3F-E283-D131-1B176D3AB4C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436876" y="4661647"/>
            <a:ext cx="2651222" cy="695335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Paso N</a:t>
            </a:r>
            <a:endParaRPr lang="es-CL" dirty="0"/>
          </a:p>
        </p:txBody>
      </p:sp>
      <p:sp>
        <p:nvSpPr>
          <p:cNvPr id="47" name="Marcador de texto 31">
            <a:extLst>
              <a:ext uri="{FF2B5EF4-FFF2-40B4-BE49-F238E27FC236}">
                <a16:creationId xmlns="" xmlns:a16="http://schemas.microsoft.com/office/drawing/2014/main" id="{49B80D32-540E-A261-3ADE-337D04EFD8E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17697" y="4661646"/>
            <a:ext cx="695336" cy="69533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48" name="Marcador de texto 31">
            <a:extLst>
              <a:ext uri="{FF2B5EF4-FFF2-40B4-BE49-F238E27FC236}">
                <a16:creationId xmlns="" xmlns:a16="http://schemas.microsoft.com/office/drawing/2014/main" id="{4D04E93A-2C50-CA1F-90EA-535EBCF0DF7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 rot="5400000">
            <a:off x="3936786" y="4854677"/>
            <a:ext cx="358759" cy="309274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49" name="Marcador de texto 34">
            <a:extLst>
              <a:ext uri="{FF2B5EF4-FFF2-40B4-BE49-F238E27FC236}">
                <a16:creationId xmlns="" xmlns:a16="http://schemas.microsoft.com/office/drawing/2014/main" id="{BAEAC7EB-CCF4-6C6F-9130-7D71F9BD1F8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612099" y="4661646"/>
            <a:ext cx="2651222" cy="695335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Paso N</a:t>
            </a:r>
            <a:endParaRPr lang="es-CL" dirty="0"/>
          </a:p>
        </p:txBody>
      </p:sp>
      <p:sp>
        <p:nvSpPr>
          <p:cNvPr id="50" name="Marcador de texto 31">
            <a:extLst>
              <a:ext uri="{FF2B5EF4-FFF2-40B4-BE49-F238E27FC236}">
                <a16:creationId xmlns="" xmlns:a16="http://schemas.microsoft.com/office/drawing/2014/main" id="{69FE249E-7CAF-4E68-6AB6-9804F3E95DB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92920" y="4661645"/>
            <a:ext cx="695336" cy="69533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51" name="Marcador de texto 31">
            <a:extLst>
              <a:ext uri="{FF2B5EF4-FFF2-40B4-BE49-F238E27FC236}">
                <a16:creationId xmlns="" xmlns:a16="http://schemas.microsoft.com/office/drawing/2014/main" id="{67EE1666-B41B-F631-1A25-92C3EA6BFA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 rot="5400000">
            <a:off x="7112009" y="4854676"/>
            <a:ext cx="358759" cy="309274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52" name="Marcador de texto 34">
            <a:extLst>
              <a:ext uri="{FF2B5EF4-FFF2-40B4-BE49-F238E27FC236}">
                <a16:creationId xmlns="" xmlns:a16="http://schemas.microsoft.com/office/drawing/2014/main" id="{A276AAEB-DA7E-0822-2CAE-BD4D7070CC2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790927" y="4661647"/>
            <a:ext cx="2651222" cy="695335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Paso N</a:t>
            </a:r>
            <a:endParaRPr lang="es-CL" dirty="0"/>
          </a:p>
        </p:txBody>
      </p:sp>
      <p:sp>
        <p:nvSpPr>
          <p:cNvPr id="53" name="Marcador de texto 31">
            <a:extLst>
              <a:ext uri="{FF2B5EF4-FFF2-40B4-BE49-F238E27FC236}">
                <a16:creationId xmlns="" xmlns:a16="http://schemas.microsoft.com/office/drawing/2014/main" id="{881092B3-20CA-6BAA-11D5-39D54F5BDBF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071748" y="4661646"/>
            <a:ext cx="695336" cy="69533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54" name="Marcador de texto 31">
            <a:extLst>
              <a:ext uri="{FF2B5EF4-FFF2-40B4-BE49-F238E27FC236}">
                <a16:creationId xmlns="" xmlns:a16="http://schemas.microsoft.com/office/drawing/2014/main" id="{688E8E11-810D-B5B0-6299-9F9115CC7B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 rot="5400000">
            <a:off x="10290837" y="4854677"/>
            <a:ext cx="358759" cy="309274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55" name="Marcador de texto 34">
            <a:extLst>
              <a:ext uri="{FF2B5EF4-FFF2-40B4-BE49-F238E27FC236}">
                <a16:creationId xmlns="" xmlns:a16="http://schemas.microsoft.com/office/drawing/2014/main" id="{FAC35482-00C4-F640-57CD-526E34538AA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36876" y="5588936"/>
            <a:ext cx="2976157" cy="388859"/>
          </a:xfrm>
          <a:noFill/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Paso N</a:t>
            </a:r>
            <a:endParaRPr lang="es-CL" dirty="0"/>
          </a:p>
        </p:txBody>
      </p:sp>
      <p:sp>
        <p:nvSpPr>
          <p:cNvPr id="56" name="Marcador de texto 34">
            <a:extLst>
              <a:ext uri="{FF2B5EF4-FFF2-40B4-BE49-F238E27FC236}">
                <a16:creationId xmlns="" xmlns:a16="http://schemas.microsoft.com/office/drawing/2014/main" id="{81589E2B-9A3E-A855-C8AF-E853D9B168B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544844" y="5588936"/>
            <a:ext cx="2976156" cy="388859"/>
          </a:xfrm>
          <a:noFill/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Paso N</a:t>
            </a:r>
            <a:endParaRPr lang="es-CL" dirty="0"/>
          </a:p>
        </p:txBody>
      </p:sp>
      <p:sp>
        <p:nvSpPr>
          <p:cNvPr id="57" name="Marcador de texto 34">
            <a:extLst>
              <a:ext uri="{FF2B5EF4-FFF2-40B4-BE49-F238E27FC236}">
                <a16:creationId xmlns="" xmlns:a16="http://schemas.microsoft.com/office/drawing/2014/main" id="{58FC6E15-AE2A-4DA3-EADF-0B746863D28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790927" y="5588936"/>
            <a:ext cx="2959197" cy="388859"/>
          </a:xfrm>
          <a:noFill/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Paso N</a:t>
            </a:r>
            <a:endParaRPr lang="es-CL" dirty="0"/>
          </a:p>
        </p:txBody>
      </p:sp>
      <p:sp>
        <p:nvSpPr>
          <p:cNvPr id="58" name="Marcador de texto 34">
            <a:extLst>
              <a:ext uri="{FF2B5EF4-FFF2-40B4-BE49-F238E27FC236}">
                <a16:creationId xmlns="" xmlns:a16="http://schemas.microsoft.com/office/drawing/2014/main" id="{F871EF77-8DB0-CA2F-8BA4-EC9D9D0B0E7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448835" y="1922990"/>
            <a:ext cx="9318249" cy="417939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59" name="Marcador de texto 34">
            <a:extLst>
              <a:ext uri="{FF2B5EF4-FFF2-40B4-BE49-F238E27FC236}">
                <a16:creationId xmlns="" xmlns:a16="http://schemas.microsoft.com/office/drawing/2014/main" id="{283204EB-EAE7-D50F-8B14-F8D51CE3134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580501" y="3539799"/>
            <a:ext cx="3240000" cy="388859"/>
          </a:xfrm>
          <a:noFill/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Paso N</a:t>
            </a:r>
            <a:endParaRPr lang="es-CL" dirty="0"/>
          </a:p>
        </p:txBody>
      </p:sp>
      <p:sp>
        <p:nvSpPr>
          <p:cNvPr id="60" name="Marcador de texto 34">
            <a:extLst>
              <a:ext uri="{FF2B5EF4-FFF2-40B4-BE49-F238E27FC236}">
                <a16:creationId xmlns="" xmlns:a16="http://schemas.microsoft.com/office/drawing/2014/main" id="{D65558B2-1DC6-3BBE-B1E6-7EFA3CE7686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072073" y="3539799"/>
            <a:ext cx="3240000" cy="388859"/>
          </a:xfrm>
          <a:noFill/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Paso N</a:t>
            </a:r>
            <a:endParaRPr lang="es-CL" dirty="0"/>
          </a:p>
        </p:txBody>
      </p:sp>
      <p:sp>
        <p:nvSpPr>
          <p:cNvPr id="61" name="Marcador de texto 34">
            <a:extLst>
              <a:ext uri="{FF2B5EF4-FFF2-40B4-BE49-F238E27FC236}">
                <a16:creationId xmlns="" xmlns:a16="http://schemas.microsoft.com/office/drawing/2014/main" id="{3322CD55-1838-1ACA-38BA-AC01739E07A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378621" y="3539799"/>
            <a:ext cx="1371503" cy="388859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62" name="Marcador de texto 34">
            <a:extLst>
              <a:ext uri="{FF2B5EF4-FFF2-40B4-BE49-F238E27FC236}">
                <a16:creationId xmlns="" xmlns:a16="http://schemas.microsoft.com/office/drawing/2014/main" id="{0C7E0143-F97B-09C1-0E30-9BD10400136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36876" y="2641872"/>
            <a:ext cx="7796334" cy="613398"/>
          </a:xfrm>
          <a:prstGeom prst="rightArrow">
            <a:avLst/>
          </a:prstGeom>
          <a:solidFill>
            <a:schemeClr val="accent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   </a:t>
            </a:r>
            <a:endParaRPr lang="es-CL" dirty="0"/>
          </a:p>
        </p:txBody>
      </p:sp>
      <p:sp>
        <p:nvSpPr>
          <p:cNvPr id="63" name="Marcador de texto 34">
            <a:extLst>
              <a:ext uri="{FF2B5EF4-FFF2-40B4-BE49-F238E27FC236}">
                <a16:creationId xmlns="" xmlns:a16="http://schemas.microsoft.com/office/drawing/2014/main" id="{3E4DBB49-9D25-DE09-9E4A-2DAE8E1E7A0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378622" y="2641872"/>
            <a:ext cx="1371503" cy="613398"/>
          </a:xfrm>
          <a:solidFill>
            <a:schemeClr val="bg2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64" name="Marcador de texto 34">
            <a:extLst>
              <a:ext uri="{FF2B5EF4-FFF2-40B4-BE49-F238E27FC236}">
                <a16:creationId xmlns="" xmlns:a16="http://schemas.microsoft.com/office/drawing/2014/main" id="{BFCA4B76-BD30-D4B5-C126-462C604CF96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580501" y="2752990"/>
            <a:ext cx="521569" cy="404882"/>
          </a:xfrm>
          <a:noFill/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65" name="Marcador de texto 34">
            <a:extLst>
              <a:ext uri="{FF2B5EF4-FFF2-40B4-BE49-F238E27FC236}">
                <a16:creationId xmlns="" xmlns:a16="http://schemas.microsoft.com/office/drawing/2014/main" id="{F2184743-3E10-8525-DE53-CEB10B65A2F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072074" y="2752990"/>
            <a:ext cx="521569" cy="404882"/>
          </a:xfrm>
          <a:noFill/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66" name="Subtítulo 2">
            <a:extLst>
              <a:ext uri="{FF2B5EF4-FFF2-40B4-BE49-F238E27FC236}">
                <a16:creationId xmlns="" xmlns:a16="http://schemas.microsoft.com/office/drawing/2014/main" id="{EDCCE3DE-5A7F-0117-89A4-A4393144FC9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40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41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44264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=""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8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=""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endParaRPr lang="es-CL" dirty="0"/>
          </a:p>
        </p:txBody>
      </p:sp>
      <p:sp>
        <p:nvSpPr>
          <p:cNvPr id="31" name="Marcador de texto 49">
            <a:extLst>
              <a:ext uri="{FF2B5EF4-FFF2-40B4-BE49-F238E27FC236}">
                <a16:creationId xmlns="" xmlns:a16="http://schemas.microsoft.com/office/drawing/2014/main" id="{E81575AC-964D-E794-7E38-5110B68A775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25462" y="1696120"/>
            <a:ext cx="5502970" cy="515610"/>
          </a:xfrm>
          <a:prstGeom prst="rect">
            <a:avLst/>
          </a:prstGeom>
          <a:solidFill>
            <a:schemeClr val="tx2"/>
          </a:solidFill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32" name="Marcador de texto 49">
            <a:extLst>
              <a:ext uri="{FF2B5EF4-FFF2-40B4-BE49-F238E27FC236}">
                <a16:creationId xmlns="" xmlns:a16="http://schemas.microsoft.com/office/drawing/2014/main" id="{5A63DF06-8316-83A5-163A-08A9C84D53B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25462" y="1361775"/>
            <a:ext cx="5502970" cy="187852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3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Objetivo</a:t>
            </a:r>
          </a:p>
        </p:txBody>
      </p:sp>
      <p:sp>
        <p:nvSpPr>
          <p:cNvPr id="33" name="Marcador de texto 49">
            <a:extLst>
              <a:ext uri="{FF2B5EF4-FFF2-40B4-BE49-F238E27FC236}">
                <a16:creationId xmlns="" xmlns:a16="http://schemas.microsoft.com/office/drawing/2014/main" id="{433133BE-E33A-0B77-8AE2-25B7D3CBF02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096000" y="1696120"/>
            <a:ext cx="2745051" cy="187200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Duración</a:t>
            </a:r>
          </a:p>
        </p:txBody>
      </p:sp>
      <p:sp>
        <p:nvSpPr>
          <p:cNvPr id="34" name="Marcador de texto 49">
            <a:extLst>
              <a:ext uri="{FF2B5EF4-FFF2-40B4-BE49-F238E27FC236}">
                <a16:creationId xmlns="" xmlns:a16="http://schemas.microsoft.com/office/drawing/2014/main" id="{B247C828-CA1E-3F9C-F927-F2E42BA6B44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096000" y="2030465"/>
            <a:ext cx="2745051" cy="187200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Participantes</a:t>
            </a:r>
          </a:p>
        </p:txBody>
      </p:sp>
      <p:sp>
        <p:nvSpPr>
          <p:cNvPr id="35" name="Marcador de texto 49">
            <a:extLst>
              <a:ext uri="{FF2B5EF4-FFF2-40B4-BE49-F238E27FC236}">
                <a16:creationId xmlns="" xmlns:a16="http://schemas.microsoft.com/office/drawing/2014/main" id="{CC09F42F-73F8-DFB4-560F-237A3D1F888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096000" y="1361775"/>
            <a:ext cx="2745051" cy="187200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Frecuencia</a:t>
            </a:r>
          </a:p>
        </p:txBody>
      </p:sp>
      <p:sp>
        <p:nvSpPr>
          <p:cNvPr id="36" name="Marcador de texto 49">
            <a:extLst>
              <a:ext uri="{FF2B5EF4-FFF2-40B4-BE49-F238E27FC236}">
                <a16:creationId xmlns="" xmlns:a16="http://schemas.microsoft.com/office/drawing/2014/main" id="{E92AAD2B-E687-633B-2225-A0601160586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994804" y="1361775"/>
            <a:ext cx="2710633" cy="84995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Líder</a:t>
            </a:r>
          </a:p>
        </p:txBody>
      </p:sp>
      <p:sp>
        <p:nvSpPr>
          <p:cNvPr id="37" name="Marcador de texto 49">
            <a:extLst>
              <a:ext uri="{FF2B5EF4-FFF2-40B4-BE49-F238E27FC236}">
                <a16:creationId xmlns="" xmlns:a16="http://schemas.microsoft.com/office/drawing/2014/main" id="{AE29ABEF-7AB4-9593-17DD-B2B67EFC2D7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25462" y="2438855"/>
            <a:ext cx="5502970" cy="187852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3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Agenda y duración por etapa</a:t>
            </a:r>
          </a:p>
        </p:txBody>
      </p:sp>
      <p:sp>
        <p:nvSpPr>
          <p:cNvPr id="38" name="Marcador de texto 49">
            <a:extLst>
              <a:ext uri="{FF2B5EF4-FFF2-40B4-BE49-F238E27FC236}">
                <a16:creationId xmlns="" xmlns:a16="http://schemas.microsoft.com/office/drawing/2014/main" id="{899ED789-E645-BEA5-8FEE-837ADC96C09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994804" y="2438855"/>
            <a:ext cx="2710633" cy="187852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3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Indicadores</a:t>
            </a:r>
          </a:p>
        </p:txBody>
      </p:sp>
      <p:sp>
        <p:nvSpPr>
          <p:cNvPr id="40" name="Marcador de texto 49">
            <a:extLst>
              <a:ext uri="{FF2B5EF4-FFF2-40B4-BE49-F238E27FC236}">
                <a16:creationId xmlns="" xmlns:a16="http://schemas.microsoft.com/office/drawing/2014/main" id="{2A6CB2EF-27AC-B479-3196-3D810B34D30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25461" y="2687642"/>
            <a:ext cx="7459919" cy="324083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41" name="Marcador de texto 49">
            <a:extLst>
              <a:ext uri="{FF2B5EF4-FFF2-40B4-BE49-F238E27FC236}">
                <a16:creationId xmlns="" xmlns:a16="http://schemas.microsoft.com/office/drawing/2014/main" id="{965978E4-55FB-BE3D-25C5-D93B9DCB8F4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095176" y="2687642"/>
            <a:ext cx="745875" cy="324083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min</a:t>
            </a:r>
          </a:p>
        </p:txBody>
      </p:sp>
      <p:sp>
        <p:nvSpPr>
          <p:cNvPr id="42" name="Marcador de texto 49">
            <a:extLst>
              <a:ext uri="{FF2B5EF4-FFF2-40B4-BE49-F238E27FC236}">
                <a16:creationId xmlns="" xmlns:a16="http://schemas.microsoft.com/office/drawing/2014/main" id="{CB52D36A-4093-1C8A-F1BD-054DDDB5771A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25461" y="3106565"/>
            <a:ext cx="7459919" cy="324083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43" name="Marcador de texto 49">
            <a:extLst>
              <a:ext uri="{FF2B5EF4-FFF2-40B4-BE49-F238E27FC236}">
                <a16:creationId xmlns="" xmlns:a16="http://schemas.microsoft.com/office/drawing/2014/main" id="{0AB725A0-1F45-73D7-9EC1-5F3527CA721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095176" y="3106565"/>
            <a:ext cx="745875" cy="324083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min</a:t>
            </a:r>
          </a:p>
        </p:txBody>
      </p:sp>
      <p:sp>
        <p:nvSpPr>
          <p:cNvPr id="44" name="Marcador de texto 49">
            <a:extLst>
              <a:ext uri="{FF2B5EF4-FFF2-40B4-BE49-F238E27FC236}">
                <a16:creationId xmlns="" xmlns:a16="http://schemas.microsoft.com/office/drawing/2014/main" id="{E3F36536-2A28-2B0C-8496-BE8BB76A40E2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25461" y="3525488"/>
            <a:ext cx="7459919" cy="324083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45" name="Marcador de texto 49">
            <a:extLst>
              <a:ext uri="{FF2B5EF4-FFF2-40B4-BE49-F238E27FC236}">
                <a16:creationId xmlns="" xmlns:a16="http://schemas.microsoft.com/office/drawing/2014/main" id="{43289912-11B2-8EA3-7CC4-07AA98B6056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095176" y="3525488"/>
            <a:ext cx="745875" cy="324083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min</a:t>
            </a:r>
          </a:p>
        </p:txBody>
      </p:sp>
      <p:sp>
        <p:nvSpPr>
          <p:cNvPr id="67" name="Marcador de texto 49">
            <a:extLst>
              <a:ext uri="{FF2B5EF4-FFF2-40B4-BE49-F238E27FC236}">
                <a16:creationId xmlns="" xmlns:a16="http://schemas.microsoft.com/office/drawing/2014/main" id="{C8FD01A3-3768-9195-2B0C-D38B2B34DFE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25461" y="3944411"/>
            <a:ext cx="7459919" cy="324083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68" name="Marcador de texto 49">
            <a:extLst>
              <a:ext uri="{FF2B5EF4-FFF2-40B4-BE49-F238E27FC236}">
                <a16:creationId xmlns="" xmlns:a16="http://schemas.microsoft.com/office/drawing/2014/main" id="{55ECA377-42F7-7F35-7790-444D1B69A56A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095176" y="3944411"/>
            <a:ext cx="745875" cy="324083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min</a:t>
            </a:r>
          </a:p>
        </p:txBody>
      </p:sp>
      <p:sp>
        <p:nvSpPr>
          <p:cNvPr id="69" name="Marcador de texto 49">
            <a:extLst>
              <a:ext uri="{FF2B5EF4-FFF2-40B4-BE49-F238E27FC236}">
                <a16:creationId xmlns="" xmlns:a16="http://schemas.microsoft.com/office/drawing/2014/main" id="{E7E85910-4A77-2B27-C50E-E49B498A0F8E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25461" y="4363334"/>
            <a:ext cx="7459919" cy="324083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70" name="Marcador de texto 49">
            <a:extLst>
              <a:ext uri="{FF2B5EF4-FFF2-40B4-BE49-F238E27FC236}">
                <a16:creationId xmlns="" xmlns:a16="http://schemas.microsoft.com/office/drawing/2014/main" id="{E1ACBA34-3873-FADE-1F27-7C8456EDA21D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095176" y="4363334"/>
            <a:ext cx="745875" cy="324083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min</a:t>
            </a:r>
          </a:p>
        </p:txBody>
      </p:sp>
      <p:sp>
        <p:nvSpPr>
          <p:cNvPr id="71" name="Marcador de texto 49">
            <a:extLst>
              <a:ext uri="{FF2B5EF4-FFF2-40B4-BE49-F238E27FC236}">
                <a16:creationId xmlns="" xmlns:a16="http://schemas.microsoft.com/office/drawing/2014/main" id="{15620AB1-5D15-0A05-6C0F-8FB72EC005B2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25461" y="4782258"/>
            <a:ext cx="7459919" cy="324083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72" name="Marcador de texto 49">
            <a:extLst>
              <a:ext uri="{FF2B5EF4-FFF2-40B4-BE49-F238E27FC236}">
                <a16:creationId xmlns="" xmlns:a16="http://schemas.microsoft.com/office/drawing/2014/main" id="{293A632D-3DCB-7FD7-EC19-B63C296F507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095176" y="4782258"/>
            <a:ext cx="745875" cy="324083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min</a:t>
            </a:r>
          </a:p>
        </p:txBody>
      </p:sp>
      <p:sp>
        <p:nvSpPr>
          <p:cNvPr id="74" name="Marcador de texto 49">
            <a:extLst>
              <a:ext uri="{FF2B5EF4-FFF2-40B4-BE49-F238E27FC236}">
                <a16:creationId xmlns="" xmlns:a16="http://schemas.microsoft.com/office/drawing/2014/main" id="{9C92B7BA-D20C-3D45-F82B-470796822686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25462" y="5639963"/>
            <a:ext cx="5502970" cy="526218"/>
          </a:xfrm>
          <a:prstGeom prst="rect">
            <a:avLst/>
          </a:prstGeom>
          <a:solidFill>
            <a:schemeClr val="tx2"/>
          </a:solidFill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75" name="Marcador de texto 49">
            <a:extLst>
              <a:ext uri="{FF2B5EF4-FFF2-40B4-BE49-F238E27FC236}">
                <a16:creationId xmlns="" xmlns:a16="http://schemas.microsoft.com/office/drawing/2014/main" id="{C9A3D3F6-31A3-0192-98CD-4276D77B2771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25462" y="5347177"/>
            <a:ext cx="5502970" cy="187852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3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Dinámica</a:t>
            </a:r>
          </a:p>
        </p:txBody>
      </p:sp>
      <p:sp>
        <p:nvSpPr>
          <p:cNvPr id="76" name="Marcador de texto 49">
            <a:extLst>
              <a:ext uri="{FF2B5EF4-FFF2-40B4-BE49-F238E27FC236}">
                <a16:creationId xmlns="" xmlns:a16="http://schemas.microsoft.com/office/drawing/2014/main" id="{CBD2281B-279A-3EBA-F8C1-B5BAB5D77DED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160718" y="5639963"/>
            <a:ext cx="2680333" cy="526218"/>
          </a:xfrm>
          <a:prstGeom prst="rect">
            <a:avLst/>
          </a:prstGeom>
          <a:solidFill>
            <a:schemeClr val="tx2"/>
          </a:solidFill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77" name="Marcador de texto 49">
            <a:extLst>
              <a:ext uri="{FF2B5EF4-FFF2-40B4-BE49-F238E27FC236}">
                <a16:creationId xmlns="" xmlns:a16="http://schemas.microsoft.com/office/drawing/2014/main" id="{8371708A-0114-987C-1E8E-F5106A10ADA5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160718" y="5347177"/>
            <a:ext cx="2680333" cy="187852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3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Otros</a:t>
            </a:r>
          </a:p>
        </p:txBody>
      </p:sp>
      <p:sp>
        <p:nvSpPr>
          <p:cNvPr id="78" name="Marcador de texto 49">
            <a:extLst>
              <a:ext uri="{FF2B5EF4-FFF2-40B4-BE49-F238E27FC236}">
                <a16:creationId xmlns="" xmlns:a16="http://schemas.microsoft.com/office/drawing/2014/main" id="{5BCD5769-175E-5C60-81A0-7E59BDCC833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994804" y="2687642"/>
            <a:ext cx="2710633" cy="3478208"/>
          </a:xfrm>
          <a:prstGeom prst="rect">
            <a:avLst/>
          </a:prstGeom>
          <a:solidFill>
            <a:schemeClr val="tx2"/>
          </a:solidFill>
        </p:spPr>
        <p:txBody>
          <a:bodyPr anchor="t">
            <a:noAutofit/>
          </a:bodyPr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63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64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009653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áfico con 3 pun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=""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2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=""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grpSp>
        <p:nvGrpSpPr>
          <p:cNvPr id="30" name="Grupo 29">
            <a:extLst>
              <a:ext uri="{FF2B5EF4-FFF2-40B4-BE49-F238E27FC236}">
                <a16:creationId xmlns="" xmlns:a16="http://schemas.microsoft.com/office/drawing/2014/main" id="{B3B31F29-9F84-2F11-9BB4-865CA8872CB6}"/>
              </a:ext>
            </a:extLst>
          </p:cNvPr>
          <p:cNvGrpSpPr/>
          <p:nvPr userDrawn="1"/>
        </p:nvGrpSpPr>
        <p:grpSpPr>
          <a:xfrm>
            <a:off x="4089231" y="1864544"/>
            <a:ext cx="4013538" cy="4014138"/>
            <a:chOff x="4663382" y="2709506"/>
            <a:chExt cx="2882916" cy="2888389"/>
          </a:xfrm>
          <a:solidFill>
            <a:schemeClr val="accent1"/>
          </a:solidFill>
        </p:grpSpPr>
        <p:sp>
          <p:nvSpPr>
            <p:cNvPr id="31" name="73 Circular">
              <a:extLst>
                <a:ext uri="{FF2B5EF4-FFF2-40B4-BE49-F238E27FC236}">
                  <a16:creationId xmlns="" xmlns:a16="http://schemas.microsoft.com/office/drawing/2014/main" id="{8AA7C80A-C828-D84B-3316-D07108D41BFA}"/>
                </a:ext>
              </a:extLst>
            </p:cNvPr>
            <p:cNvSpPr/>
            <p:nvPr/>
          </p:nvSpPr>
          <p:spPr bwMode="auto">
            <a:xfrm>
              <a:off x="4663382" y="2717895"/>
              <a:ext cx="2880000" cy="2880000"/>
            </a:xfrm>
            <a:prstGeom prst="pie">
              <a:avLst>
                <a:gd name="adj1" fmla="val 10056162"/>
                <a:gd name="adj2" fmla="val 16190355"/>
              </a:avLst>
            </a:prstGeom>
            <a:grpFill/>
            <a:ln w="5715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88013" tIns="44006" rIns="88013" bIns="4400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eaLnBrk="0">
                <a:lnSpc>
                  <a:spcPct val="100000"/>
                </a:lnSpc>
                <a:spcBef>
                  <a:spcPts val="0"/>
                </a:spcBef>
                <a:defRPr/>
              </a:pPr>
              <a:endParaRPr lang="es-CL" sz="1600" b="1" dirty="0">
                <a:solidFill>
                  <a:srgbClr val="EAEADE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2" name="Grupo 31">
              <a:extLst>
                <a:ext uri="{FF2B5EF4-FFF2-40B4-BE49-F238E27FC236}">
                  <a16:creationId xmlns="" xmlns:a16="http://schemas.microsoft.com/office/drawing/2014/main" id="{D65AFB14-68CF-C19E-A6CC-09EC2BE057D0}"/>
                </a:ext>
              </a:extLst>
            </p:cNvPr>
            <p:cNvGrpSpPr/>
            <p:nvPr/>
          </p:nvGrpSpPr>
          <p:grpSpPr>
            <a:xfrm>
              <a:off x="4666298" y="2709506"/>
              <a:ext cx="2880000" cy="2886942"/>
              <a:chOff x="4666298" y="2709506"/>
              <a:chExt cx="2880000" cy="2886942"/>
            </a:xfrm>
            <a:grpFill/>
          </p:grpSpPr>
          <p:sp>
            <p:nvSpPr>
              <p:cNvPr id="33" name="68 Circular">
                <a:extLst>
                  <a:ext uri="{FF2B5EF4-FFF2-40B4-BE49-F238E27FC236}">
                    <a16:creationId xmlns="" xmlns:a16="http://schemas.microsoft.com/office/drawing/2014/main" id="{34D39FA0-5A91-8F9B-386A-892D13E044D6}"/>
                  </a:ext>
                </a:extLst>
              </p:cNvPr>
              <p:cNvSpPr/>
              <p:nvPr/>
            </p:nvSpPr>
            <p:spPr bwMode="auto">
              <a:xfrm>
                <a:off x="4666298" y="2709506"/>
                <a:ext cx="2880000" cy="2880000"/>
              </a:xfrm>
              <a:prstGeom prst="pie">
                <a:avLst>
                  <a:gd name="adj1" fmla="val 770312"/>
                  <a:gd name="adj2" fmla="val 10081535"/>
                </a:avLst>
              </a:prstGeom>
              <a:grpFill/>
              <a:ln w="5715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88013" tIns="44006" rIns="88013" bIns="4400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eaLnBrk="0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s-CL" sz="1200" b="1" dirty="0">
                  <a:solidFill>
                    <a:srgbClr val="EAEADE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4" name="65 Circular">
                <a:extLst>
                  <a:ext uri="{FF2B5EF4-FFF2-40B4-BE49-F238E27FC236}">
                    <a16:creationId xmlns="" xmlns:a16="http://schemas.microsoft.com/office/drawing/2014/main" id="{B2DBC8B2-E293-DABC-AFE5-6E145E020FA3}"/>
                  </a:ext>
                </a:extLst>
              </p:cNvPr>
              <p:cNvSpPr/>
              <p:nvPr/>
            </p:nvSpPr>
            <p:spPr bwMode="auto">
              <a:xfrm>
                <a:off x="4666298" y="2716448"/>
                <a:ext cx="2880000" cy="2880000"/>
              </a:xfrm>
              <a:prstGeom prst="pie">
                <a:avLst>
                  <a:gd name="adj1" fmla="val 16185162"/>
                  <a:gd name="adj2" fmla="val 795482"/>
                </a:avLst>
              </a:prstGeom>
              <a:grpFill/>
              <a:ln w="5715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88013" tIns="44006" rIns="88013" bIns="4400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eaLnBrk="0">
                  <a:lnSpc>
                    <a:spcPct val="100000"/>
                  </a:lnSpc>
                  <a:spcBef>
                    <a:spcPts val="0"/>
                  </a:spcBef>
                  <a:defRPr/>
                </a:pPr>
                <a:endParaRPr lang="es-CL" sz="1200" b="1" dirty="0">
                  <a:solidFill>
                    <a:srgbClr val="EAEADE"/>
                  </a:solidFill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1" name="Oval 10">
            <a:extLst>
              <a:ext uri="{FF2B5EF4-FFF2-40B4-BE49-F238E27FC236}">
                <a16:creationId xmlns="" xmlns:a16="http://schemas.microsoft.com/office/drawing/2014/main" id="{F8C3F79B-5F43-9430-21CA-B76EF1301F67}"/>
              </a:ext>
            </a:extLst>
          </p:cNvPr>
          <p:cNvSpPr>
            <a:spLocks noChangeAspect="1" noChangeArrowheads="1"/>
          </p:cNvSpPr>
          <p:nvPr userDrawn="1"/>
        </p:nvSpPr>
        <p:spPr bwMode="gray">
          <a:xfrm>
            <a:off x="5497012" y="3405354"/>
            <a:ext cx="1197976" cy="1166967"/>
          </a:xfrm>
          <a:prstGeom prst="ellipse">
            <a:avLst/>
          </a:prstGeom>
          <a:solidFill>
            <a:schemeClr val="accent2"/>
          </a:solidFill>
          <a:ln w="57150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 wrap="none" lIns="91422" tIns="45711" rIns="91422" bIns="45711" anchor="ctr"/>
          <a:lstStyle>
            <a:lvl1pPr>
              <a:defRPr sz="1500">
                <a:solidFill>
                  <a:srgbClr val="000000"/>
                </a:solidFill>
                <a:latin typeface="Verdana" pitchFamily="34" charset="0"/>
              </a:defRPr>
            </a:lvl1pPr>
            <a:lvl2pPr marL="742950" indent="-285750">
              <a:defRPr sz="1500">
                <a:solidFill>
                  <a:srgbClr val="000000"/>
                </a:solidFill>
                <a:latin typeface="Verdana" pitchFamily="34" charset="0"/>
              </a:defRPr>
            </a:lvl2pPr>
            <a:lvl3pPr marL="1143000" indent="-228600">
              <a:defRPr sz="1500">
                <a:solidFill>
                  <a:srgbClr val="000000"/>
                </a:solidFill>
                <a:latin typeface="Verdana" pitchFamily="34" charset="0"/>
              </a:defRPr>
            </a:lvl3pPr>
            <a:lvl4pPr marL="1600200" indent="-228600">
              <a:defRPr sz="1500">
                <a:solidFill>
                  <a:srgbClr val="000000"/>
                </a:solidFill>
                <a:latin typeface="Verdana" pitchFamily="34" charset="0"/>
              </a:defRPr>
            </a:lvl4pPr>
            <a:lvl5pPr marL="2057400" indent="-228600">
              <a:defRPr sz="1500">
                <a:solidFill>
                  <a:srgbClr val="000000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00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00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00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00"/>
                </a:solidFill>
                <a:latin typeface="Verdana" pitchFamily="34" charset="0"/>
              </a:defRPr>
            </a:lvl9pPr>
          </a:lstStyle>
          <a:p>
            <a:pPr algn="ctr" defTabSz="914400" eaLnBrk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s-CL" altLang="es-CL" sz="1400" b="1" noProof="1">
              <a:solidFill>
                <a:srgbClr val="004C14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Marcador de texto 31">
            <a:extLst>
              <a:ext uri="{FF2B5EF4-FFF2-40B4-BE49-F238E27FC236}">
                <a16:creationId xmlns="" xmlns:a16="http://schemas.microsoft.com/office/drawing/2014/main" id="{97EA9A67-3D8B-DE06-91E1-A7281C8F598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29169" y="2580619"/>
            <a:ext cx="357188" cy="3571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68" name="Marcador de texto 31">
            <a:extLst>
              <a:ext uri="{FF2B5EF4-FFF2-40B4-BE49-F238E27FC236}">
                <a16:creationId xmlns="" xmlns:a16="http://schemas.microsoft.com/office/drawing/2014/main" id="{278D51D4-BD9D-3610-690E-C4345F0E656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678951" y="2580619"/>
            <a:ext cx="357188" cy="3571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70" name="Marcador de texto 34">
            <a:extLst>
              <a:ext uri="{FF2B5EF4-FFF2-40B4-BE49-F238E27FC236}">
                <a16:creationId xmlns="" xmlns:a16="http://schemas.microsoft.com/office/drawing/2014/main" id="{C705CD57-E64E-FA84-EA2F-BC54EE37A90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529056" y="3048963"/>
            <a:ext cx="1197976" cy="357188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71" name="Marcador de texto 34">
            <a:extLst>
              <a:ext uri="{FF2B5EF4-FFF2-40B4-BE49-F238E27FC236}">
                <a16:creationId xmlns="" xmlns:a16="http://schemas.microsoft.com/office/drawing/2014/main" id="{8E6F8833-B8EA-42B0-12E5-822EE2B6F46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96402" y="3048963"/>
            <a:ext cx="1197976" cy="357188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77" name="Marcador de texto 34">
            <a:extLst>
              <a:ext uri="{FF2B5EF4-FFF2-40B4-BE49-F238E27FC236}">
                <a16:creationId xmlns="" xmlns:a16="http://schemas.microsoft.com/office/drawing/2014/main" id="{7E883DC9-18D7-6D65-6F60-A9CC233F79B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494919" y="4966278"/>
            <a:ext cx="1197976" cy="357188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78" name="Marcador de texto 34">
            <a:extLst>
              <a:ext uri="{FF2B5EF4-FFF2-40B4-BE49-F238E27FC236}">
                <a16:creationId xmlns="" xmlns:a16="http://schemas.microsoft.com/office/drawing/2014/main" id="{6EE53560-5993-205A-EA7B-5770917A454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94919" y="3844060"/>
            <a:ext cx="1197976" cy="357188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85" name="Marcador de texto 31">
            <a:extLst>
              <a:ext uri="{FF2B5EF4-FFF2-40B4-BE49-F238E27FC236}">
                <a16:creationId xmlns="" xmlns:a16="http://schemas.microsoft.com/office/drawing/2014/main" id="{458ECCD6-DC7F-D4C1-271D-9FDCA96C6A3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917406" y="5660378"/>
            <a:ext cx="357188" cy="3571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27" name="Marcador de texto 34">
            <a:extLst>
              <a:ext uri="{FF2B5EF4-FFF2-40B4-BE49-F238E27FC236}">
                <a16:creationId xmlns="" xmlns:a16="http://schemas.microsoft.com/office/drawing/2014/main" id="{26473813-2D17-8739-5DED-8C699BE0745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913" y="1858292"/>
            <a:ext cx="3098416" cy="1213051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5" name="Marcador de texto 34">
            <a:extLst>
              <a:ext uri="{FF2B5EF4-FFF2-40B4-BE49-F238E27FC236}">
                <a16:creationId xmlns="" xmlns:a16="http://schemas.microsoft.com/office/drawing/2014/main" id="{8D2ACCD1-3753-9BC7-99EC-FBE1D7872A1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601698" y="1858292"/>
            <a:ext cx="3098416" cy="1213051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7" name="Marcador de texto 34">
            <a:extLst>
              <a:ext uri="{FF2B5EF4-FFF2-40B4-BE49-F238E27FC236}">
                <a16:creationId xmlns="" xmlns:a16="http://schemas.microsoft.com/office/drawing/2014/main" id="{3655D843-2854-5FEE-22E9-8695D748BB4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601698" y="4781602"/>
            <a:ext cx="3098416" cy="1213051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80328348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áfico con 5 pun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68 Circular">
            <a:extLst>
              <a:ext uri="{FF2B5EF4-FFF2-40B4-BE49-F238E27FC236}">
                <a16:creationId xmlns="" xmlns:a16="http://schemas.microsoft.com/office/drawing/2014/main" id="{CAF0171C-7DA9-DB33-6052-1608904CE8FE}"/>
              </a:ext>
            </a:extLst>
          </p:cNvPr>
          <p:cNvSpPr/>
          <p:nvPr userDrawn="1"/>
        </p:nvSpPr>
        <p:spPr bwMode="auto">
          <a:xfrm>
            <a:off x="4062789" y="1858292"/>
            <a:ext cx="4080002" cy="4004519"/>
          </a:xfrm>
          <a:prstGeom prst="pie">
            <a:avLst>
              <a:gd name="adj1" fmla="val 3273156"/>
              <a:gd name="adj2" fmla="val 7537411"/>
            </a:avLst>
          </a:prstGeom>
          <a:solidFill>
            <a:schemeClr val="accent1"/>
          </a:solidFill>
          <a:ln w="571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>
              <a:spcBef>
                <a:spcPts val="0"/>
              </a:spcBef>
              <a:defRPr/>
            </a:pPr>
            <a:endParaRPr lang="es-CL" sz="1600" b="1" dirty="0"/>
          </a:p>
        </p:txBody>
      </p:sp>
      <p:sp>
        <p:nvSpPr>
          <p:cNvPr id="13" name="73 Circular">
            <a:extLst>
              <a:ext uri="{FF2B5EF4-FFF2-40B4-BE49-F238E27FC236}">
                <a16:creationId xmlns="" xmlns:a16="http://schemas.microsoft.com/office/drawing/2014/main" id="{130EE012-5E76-D4E5-967A-D7380FB98AF1}"/>
              </a:ext>
            </a:extLst>
          </p:cNvPr>
          <p:cNvSpPr/>
          <p:nvPr userDrawn="1"/>
        </p:nvSpPr>
        <p:spPr bwMode="auto">
          <a:xfrm>
            <a:off x="4055999" y="1858292"/>
            <a:ext cx="4080002" cy="4004519"/>
          </a:xfrm>
          <a:prstGeom prst="pie">
            <a:avLst>
              <a:gd name="adj1" fmla="val 10119161"/>
              <a:gd name="adj2" fmla="val 16149741"/>
            </a:avLst>
          </a:prstGeom>
          <a:solidFill>
            <a:schemeClr val="accent1"/>
          </a:solidFill>
          <a:ln w="571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>
              <a:spcBef>
                <a:spcPts val="0"/>
              </a:spcBef>
              <a:defRPr/>
            </a:pPr>
            <a:r>
              <a:rPr lang="es-CL" sz="1600" b="1" dirty="0"/>
              <a:t>x</a:t>
            </a:r>
          </a:p>
        </p:txBody>
      </p:sp>
      <p:sp>
        <p:nvSpPr>
          <p:cNvPr id="14" name="64 Circular">
            <a:extLst>
              <a:ext uri="{FF2B5EF4-FFF2-40B4-BE49-F238E27FC236}">
                <a16:creationId xmlns="" xmlns:a16="http://schemas.microsoft.com/office/drawing/2014/main" id="{5FEFC6FA-F65A-3626-20F1-A36BE42A6316}"/>
              </a:ext>
            </a:extLst>
          </p:cNvPr>
          <p:cNvSpPr/>
          <p:nvPr userDrawn="1"/>
        </p:nvSpPr>
        <p:spPr bwMode="auto">
          <a:xfrm>
            <a:off x="4062789" y="1858292"/>
            <a:ext cx="4080002" cy="4004519"/>
          </a:xfrm>
          <a:prstGeom prst="pie">
            <a:avLst>
              <a:gd name="adj1" fmla="val 20506516"/>
              <a:gd name="adj2" fmla="val 3260886"/>
            </a:avLst>
          </a:prstGeom>
          <a:solidFill>
            <a:schemeClr val="accent1"/>
          </a:solidFill>
          <a:ln w="571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>
              <a:spcBef>
                <a:spcPts val="0"/>
              </a:spcBef>
              <a:defRPr/>
            </a:pPr>
            <a:endParaRPr lang="es-CL" sz="1600" b="1" dirty="0"/>
          </a:p>
        </p:txBody>
      </p:sp>
      <p:sp>
        <p:nvSpPr>
          <p:cNvPr id="16" name="68 Circular">
            <a:extLst>
              <a:ext uri="{FF2B5EF4-FFF2-40B4-BE49-F238E27FC236}">
                <a16:creationId xmlns="" xmlns:a16="http://schemas.microsoft.com/office/drawing/2014/main" id="{AF07483E-0115-3203-49F7-8CA91FC3C24E}"/>
              </a:ext>
            </a:extLst>
          </p:cNvPr>
          <p:cNvSpPr/>
          <p:nvPr userDrawn="1"/>
        </p:nvSpPr>
        <p:spPr bwMode="auto">
          <a:xfrm>
            <a:off x="4062789" y="1858292"/>
            <a:ext cx="4080002" cy="4004519"/>
          </a:xfrm>
          <a:prstGeom prst="pie">
            <a:avLst>
              <a:gd name="adj1" fmla="val 7533144"/>
              <a:gd name="adj2" fmla="val 11901030"/>
            </a:avLst>
          </a:prstGeom>
          <a:solidFill>
            <a:schemeClr val="accent1"/>
          </a:solidFill>
          <a:ln w="571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>
              <a:spcBef>
                <a:spcPts val="0"/>
              </a:spcBef>
              <a:defRPr/>
            </a:pPr>
            <a:endParaRPr lang="es-CL" sz="1600" b="1" dirty="0"/>
          </a:p>
        </p:txBody>
      </p:sp>
      <p:sp>
        <p:nvSpPr>
          <p:cNvPr id="17" name="65 Circular">
            <a:extLst>
              <a:ext uri="{FF2B5EF4-FFF2-40B4-BE49-F238E27FC236}">
                <a16:creationId xmlns="" xmlns:a16="http://schemas.microsoft.com/office/drawing/2014/main" id="{4990A491-7E33-B559-DEFF-BD9B721F6D6A}"/>
              </a:ext>
            </a:extLst>
          </p:cNvPr>
          <p:cNvSpPr/>
          <p:nvPr userDrawn="1"/>
        </p:nvSpPr>
        <p:spPr bwMode="auto">
          <a:xfrm>
            <a:off x="4055999" y="1858292"/>
            <a:ext cx="4080002" cy="4004519"/>
          </a:xfrm>
          <a:prstGeom prst="pie">
            <a:avLst>
              <a:gd name="adj1" fmla="val 16185162"/>
              <a:gd name="adj2" fmla="val 20510267"/>
            </a:avLst>
          </a:prstGeom>
          <a:solidFill>
            <a:schemeClr val="accent1"/>
          </a:solidFill>
          <a:ln w="571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>
              <a:spcBef>
                <a:spcPts val="0"/>
              </a:spcBef>
              <a:defRPr/>
            </a:pPr>
            <a:endParaRPr lang="es-CL" sz="1600" b="1" dirty="0"/>
          </a:p>
        </p:txBody>
      </p:sp>
      <p:graphicFrame>
        <p:nvGraphicFramePr>
          <p:cNvPr id="15" name="Objeto 14" hidden="1">
            <a:extLst>
              <a:ext uri="{FF2B5EF4-FFF2-40B4-BE49-F238E27FC236}">
                <a16:creationId xmlns=""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6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=""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79DD609-3848-1A58-181F-8574EA59BFC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sp>
        <p:nvSpPr>
          <p:cNvPr id="67" name="Marcador de texto 31">
            <a:extLst>
              <a:ext uri="{FF2B5EF4-FFF2-40B4-BE49-F238E27FC236}">
                <a16:creationId xmlns="" xmlns:a16="http://schemas.microsoft.com/office/drawing/2014/main" id="{97EA9A67-3D8B-DE06-91E1-A7281C8F5987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529056" y="2219628"/>
            <a:ext cx="357188" cy="3571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68" name="Marcador de texto 31">
            <a:extLst>
              <a:ext uri="{FF2B5EF4-FFF2-40B4-BE49-F238E27FC236}">
                <a16:creationId xmlns="" xmlns:a16="http://schemas.microsoft.com/office/drawing/2014/main" id="{278D51D4-BD9D-3610-690E-C4345F0E656A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7305758" y="2219628"/>
            <a:ext cx="357188" cy="3571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69" name="Marcador de texto 31">
            <a:extLst>
              <a:ext uri="{FF2B5EF4-FFF2-40B4-BE49-F238E27FC236}">
                <a16:creationId xmlns="" xmlns:a16="http://schemas.microsoft.com/office/drawing/2014/main" id="{C7DCFFED-BD23-3553-E531-D75E7FE18320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5917406" y="5654126"/>
            <a:ext cx="357188" cy="3571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70" name="Marcador de texto 34">
            <a:extLst>
              <a:ext uri="{FF2B5EF4-FFF2-40B4-BE49-F238E27FC236}">
                <a16:creationId xmlns="" xmlns:a16="http://schemas.microsoft.com/office/drawing/2014/main" id="{C705CD57-E64E-FA84-EA2F-BC54EE37A903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4704708" y="2846311"/>
            <a:ext cx="1197976" cy="357188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77" name="Marcador de texto 34">
            <a:extLst>
              <a:ext uri="{FF2B5EF4-FFF2-40B4-BE49-F238E27FC236}">
                <a16:creationId xmlns="" xmlns:a16="http://schemas.microsoft.com/office/drawing/2014/main" id="{7E883DC9-18D7-6D65-6F60-A9CC233F79B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5494919" y="4918461"/>
            <a:ext cx="1197976" cy="357188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6" name="Oval 10">
            <a:extLst>
              <a:ext uri="{FF2B5EF4-FFF2-40B4-BE49-F238E27FC236}">
                <a16:creationId xmlns="" xmlns:a16="http://schemas.microsoft.com/office/drawing/2014/main" id="{215A63A4-B20F-14C1-47DE-DE42F389E748}"/>
              </a:ext>
            </a:extLst>
          </p:cNvPr>
          <p:cNvSpPr>
            <a:spLocks noChangeAspect="1" noChangeArrowheads="1"/>
          </p:cNvSpPr>
          <p:nvPr userDrawn="1"/>
        </p:nvSpPr>
        <p:spPr bwMode="gray">
          <a:xfrm>
            <a:off x="5497012" y="3399102"/>
            <a:ext cx="1197976" cy="1166967"/>
          </a:xfrm>
          <a:prstGeom prst="ellipse">
            <a:avLst/>
          </a:prstGeom>
          <a:solidFill>
            <a:schemeClr val="accent2"/>
          </a:solidFill>
          <a:ln w="57150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 wrap="none" lIns="91422" tIns="45711" rIns="91422" bIns="45711" anchor="ctr"/>
          <a:lstStyle>
            <a:lvl1pPr>
              <a:defRPr sz="1500">
                <a:solidFill>
                  <a:srgbClr val="000000"/>
                </a:solidFill>
                <a:latin typeface="Verdana" pitchFamily="34" charset="0"/>
              </a:defRPr>
            </a:lvl1pPr>
            <a:lvl2pPr marL="742950" indent="-285750">
              <a:defRPr sz="1500">
                <a:solidFill>
                  <a:srgbClr val="000000"/>
                </a:solidFill>
                <a:latin typeface="Verdana" pitchFamily="34" charset="0"/>
              </a:defRPr>
            </a:lvl2pPr>
            <a:lvl3pPr marL="1143000" indent="-228600">
              <a:defRPr sz="1500">
                <a:solidFill>
                  <a:srgbClr val="000000"/>
                </a:solidFill>
                <a:latin typeface="Verdana" pitchFamily="34" charset="0"/>
              </a:defRPr>
            </a:lvl3pPr>
            <a:lvl4pPr marL="1600200" indent="-228600">
              <a:defRPr sz="1500">
                <a:solidFill>
                  <a:srgbClr val="000000"/>
                </a:solidFill>
                <a:latin typeface="Verdana" pitchFamily="34" charset="0"/>
              </a:defRPr>
            </a:lvl4pPr>
            <a:lvl5pPr marL="2057400" indent="-228600">
              <a:defRPr sz="1500">
                <a:solidFill>
                  <a:srgbClr val="000000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00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00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00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00"/>
                </a:solidFill>
                <a:latin typeface="Verdana" pitchFamily="34" charset="0"/>
              </a:defRPr>
            </a:lvl9pPr>
          </a:lstStyle>
          <a:p>
            <a:pPr algn="ctr" defTabSz="914400" eaLnBrk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s-CL" altLang="es-CL" sz="1400" b="1" noProof="1">
              <a:solidFill>
                <a:srgbClr val="004C14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Marcador de texto 34">
            <a:extLst>
              <a:ext uri="{FF2B5EF4-FFF2-40B4-BE49-F238E27FC236}">
                <a16:creationId xmlns="" xmlns:a16="http://schemas.microsoft.com/office/drawing/2014/main" id="{456F7253-3CD7-EF81-AB66-660DECF690CC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5494919" y="3837808"/>
            <a:ext cx="1197976" cy="357188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8" name="Marcador de texto 31">
            <a:extLst>
              <a:ext uri="{FF2B5EF4-FFF2-40B4-BE49-F238E27FC236}">
                <a16:creationId xmlns="" xmlns:a16="http://schemas.microsoft.com/office/drawing/2014/main" id="{680CA95C-F6E8-8389-C799-88FD0A1D7B1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062789" y="4311664"/>
            <a:ext cx="357188" cy="3571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29" name="Marcador de texto 31">
            <a:extLst>
              <a:ext uri="{FF2B5EF4-FFF2-40B4-BE49-F238E27FC236}">
                <a16:creationId xmlns="" xmlns:a16="http://schemas.microsoft.com/office/drawing/2014/main" id="{10B4DE77-B819-49D3-13B3-9A862C86D2FD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7792393" y="4311664"/>
            <a:ext cx="357188" cy="3571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35" name="Marcador de texto 34">
            <a:extLst>
              <a:ext uri="{FF2B5EF4-FFF2-40B4-BE49-F238E27FC236}">
                <a16:creationId xmlns="" xmlns:a16="http://schemas.microsoft.com/office/drawing/2014/main" id="{6FC714C9-8337-40ED-849E-DACDDB06F6F8}"/>
              </a:ext>
            </a:extLst>
          </p:cNvPr>
          <p:cNvSpPr>
            <a:spLocks noGrp="1"/>
          </p:cNvSpPr>
          <p:nvPr userDrawn="1">
            <p:ph type="body" sz="quarter" idx="43" hasCustomPrompt="1"/>
          </p:nvPr>
        </p:nvSpPr>
        <p:spPr>
          <a:xfrm>
            <a:off x="6242562" y="2846311"/>
            <a:ext cx="1197976" cy="357188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46" name="Marcador de texto 34">
            <a:extLst>
              <a:ext uri="{FF2B5EF4-FFF2-40B4-BE49-F238E27FC236}">
                <a16:creationId xmlns="" xmlns:a16="http://schemas.microsoft.com/office/drawing/2014/main" id="{34EAAFE9-A9B1-6F8D-9775-E316E3518A2F}"/>
              </a:ext>
            </a:extLst>
          </p:cNvPr>
          <p:cNvSpPr>
            <a:spLocks noGrp="1"/>
          </p:cNvSpPr>
          <p:nvPr userDrawn="1">
            <p:ph type="body" sz="quarter" idx="44" hasCustomPrompt="1"/>
          </p:nvPr>
        </p:nvSpPr>
        <p:spPr>
          <a:xfrm>
            <a:off x="4330993" y="4120929"/>
            <a:ext cx="1197976" cy="357188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47" name="Marcador de texto 34">
            <a:extLst>
              <a:ext uri="{FF2B5EF4-FFF2-40B4-BE49-F238E27FC236}">
                <a16:creationId xmlns="" xmlns:a16="http://schemas.microsoft.com/office/drawing/2014/main" id="{DFFD05A5-B736-A806-3FB1-E758382EBFA5}"/>
              </a:ext>
            </a:extLst>
          </p:cNvPr>
          <p:cNvSpPr>
            <a:spLocks noGrp="1"/>
          </p:cNvSpPr>
          <p:nvPr userDrawn="1">
            <p:ph type="body" sz="quarter" idx="45" hasCustomPrompt="1"/>
          </p:nvPr>
        </p:nvSpPr>
        <p:spPr>
          <a:xfrm>
            <a:off x="6692895" y="4120929"/>
            <a:ext cx="1197976" cy="357188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" name="Marcador de pie de página 2"/>
          <p:cNvSpPr>
            <a:spLocks noGrp="1"/>
          </p:cNvSpPr>
          <p:nvPr userDrawn="1">
            <p:ph type="ftr" sz="quarter" idx="49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 userDrawn="1">
            <p:ph type="sldNum" sz="quarter" idx="50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52" name="Marcador de texto 34">
            <a:extLst>
              <a:ext uri="{FF2B5EF4-FFF2-40B4-BE49-F238E27FC236}">
                <a16:creationId xmlns="" xmlns:a16="http://schemas.microsoft.com/office/drawing/2014/main" id="{8D2ACCD1-3753-9BC7-99EC-FBE1D7872A1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601698" y="1858292"/>
            <a:ext cx="3098416" cy="1213051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53" name="Marcador de texto 34">
            <a:extLst>
              <a:ext uri="{FF2B5EF4-FFF2-40B4-BE49-F238E27FC236}">
                <a16:creationId xmlns="" xmlns:a16="http://schemas.microsoft.com/office/drawing/2014/main" id="{C8C34860-EFF7-CFD9-C7D1-BA2401A084A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601698" y="3340729"/>
            <a:ext cx="3098416" cy="1213051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54" name="Marcador de texto 34">
            <a:extLst>
              <a:ext uri="{FF2B5EF4-FFF2-40B4-BE49-F238E27FC236}">
                <a16:creationId xmlns="" xmlns:a16="http://schemas.microsoft.com/office/drawing/2014/main" id="{3655D843-2854-5FEE-22E9-8695D748BB4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601698" y="4781602"/>
            <a:ext cx="3098416" cy="1213051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55" name="Marcador de texto 34">
            <a:extLst>
              <a:ext uri="{FF2B5EF4-FFF2-40B4-BE49-F238E27FC236}">
                <a16:creationId xmlns="" xmlns:a16="http://schemas.microsoft.com/office/drawing/2014/main" id="{26473813-2D17-8739-5DED-8C699BE0745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2913" y="1858292"/>
            <a:ext cx="3098416" cy="1213051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56" name="Marcador de texto 34">
            <a:extLst>
              <a:ext uri="{FF2B5EF4-FFF2-40B4-BE49-F238E27FC236}">
                <a16:creationId xmlns="" xmlns:a16="http://schemas.microsoft.com/office/drawing/2014/main" id="{93A10BBE-E8E2-D140-F85E-AE27E4BC3BED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42913" y="3340729"/>
            <a:ext cx="3098416" cy="1213051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42832528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áfico con 6 pun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64 Circular">
            <a:extLst>
              <a:ext uri="{FF2B5EF4-FFF2-40B4-BE49-F238E27FC236}">
                <a16:creationId xmlns="" xmlns:a16="http://schemas.microsoft.com/office/drawing/2014/main" id="{01840219-6BE9-C1C6-5F61-501684EDA617}"/>
              </a:ext>
            </a:extLst>
          </p:cNvPr>
          <p:cNvSpPr/>
          <p:nvPr userDrawn="1"/>
        </p:nvSpPr>
        <p:spPr bwMode="auto">
          <a:xfrm>
            <a:off x="4062864" y="1858292"/>
            <a:ext cx="4080002" cy="4004519"/>
          </a:xfrm>
          <a:prstGeom prst="pie">
            <a:avLst>
              <a:gd name="adj1" fmla="val 21485870"/>
              <a:gd name="adj2" fmla="val 3260886"/>
            </a:avLst>
          </a:prstGeom>
          <a:solidFill>
            <a:schemeClr val="accent1"/>
          </a:solidFill>
          <a:ln w="571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>
              <a:spcBef>
                <a:spcPts val="0"/>
              </a:spcBef>
              <a:defRPr/>
            </a:pPr>
            <a:endParaRPr lang="es-CL" sz="1600" b="1" dirty="0"/>
          </a:p>
        </p:txBody>
      </p:sp>
      <p:sp>
        <p:nvSpPr>
          <p:cNvPr id="5" name="68 Circular">
            <a:extLst>
              <a:ext uri="{FF2B5EF4-FFF2-40B4-BE49-F238E27FC236}">
                <a16:creationId xmlns="" xmlns:a16="http://schemas.microsoft.com/office/drawing/2014/main" id="{F1398410-6963-4010-5138-8F888E554D1E}"/>
              </a:ext>
            </a:extLst>
          </p:cNvPr>
          <p:cNvSpPr/>
          <p:nvPr userDrawn="1"/>
        </p:nvSpPr>
        <p:spPr bwMode="auto">
          <a:xfrm>
            <a:off x="4062789" y="1858292"/>
            <a:ext cx="4080002" cy="4004519"/>
          </a:xfrm>
          <a:prstGeom prst="pie">
            <a:avLst>
              <a:gd name="adj1" fmla="val 10847340"/>
              <a:gd name="adj2" fmla="val 14054134"/>
            </a:avLst>
          </a:prstGeom>
          <a:solidFill>
            <a:schemeClr val="accent1"/>
          </a:solidFill>
          <a:ln w="571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>
              <a:spcBef>
                <a:spcPts val="0"/>
              </a:spcBef>
              <a:defRPr/>
            </a:pPr>
            <a:endParaRPr lang="es-CL" sz="1600" b="1" dirty="0"/>
          </a:p>
        </p:txBody>
      </p:sp>
      <p:sp>
        <p:nvSpPr>
          <p:cNvPr id="6" name="73 Circular">
            <a:extLst>
              <a:ext uri="{FF2B5EF4-FFF2-40B4-BE49-F238E27FC236}">
                <a16:creationId xmlns="" xmlns:a16="http://schemas.microsoft.com/office/drawing/2014/main" id="{8D1CFCE6-7954-53DA-D9AF-0EEA8DAE6D87}"/>
              </a:ext>
            </a:extLst>
          </p:cNvPr>
          <p:cNvSpPr/>
          <p:nvPr userDrawn="1"/>
        </p:nvSpPr>
        <p:spPr bwMode="auto">
          <a:xfrm>
            <a:off x="4055999" y="1858292"/>
            <a:ext cx="4080002" cy="4004519"/>
          </a:xfrm>
          <a:prstGeom prst="pie">
            <a:avLst>
              <a:gd name="adj1" fmla="val 13964920"/>
              <a:gd name="adj2" fmla="val 18187366"/>
            </a:avLst>
          </a:prstGeom>
          <a:solidFill>
            <a:schemeClr val="accent1"/>
          </a:solidFill>
          <a:ln w="571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>
              <a:spcBef>
                <a:spcPts val="0"/>
              </a:spcBef>
              <a:defRPr/>
            </a:pPr>
            <a:r>
              <a:rPr lang="es-CL" sz="1600" b="1" dirty="0"/>
              <a:t>x</a:t>
            </a:r>
          </a:p>
        </p:txBody>
      </p:sp>
      <p:sp>
        <p:nvSpPr>
          <p:cNvPr id="7" name="64 Circular">
            <a:extLst>
              <a:ext uri="{FF2B5EF4-FFF2-40B4-BE49-F238E27FC236}">
                <a16:creationId xmlns="" xmlns:a16="http://schemas.microsoft.com/office/drawing/2014/main" id="{038FEDC7-7BF4-398F-F309-50959F10AABF}"/>
              </a:ext>
            </a:extLst>
          </p:cNvPr>
          <p:cNvSpPr/>
          <p:nvPr userDrawn="1"/>
        </p:nvSpPr>
        <p:spPr bwMode="auto">
          <a:xfrm>
            <a:off x="4062789" y="1858292"/>
            <a:ext cx="4080002" cy="4004519"/>
          </a:xfrm>
          <a:prstGeom prst="pie">
            <a:avLst>
              <a:gd name="adj1" fmla="val 3165229"/>
              <a:gd name="adj2" fmla="val 7621398"/>
            </a:avLst>
          </a:prstGeom>
          <a:solidFill>
            <a:schemeClr val="accent1"/>
          </a:solidFill>
          <a:ln w="571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>
              <a:spcBef>
                <a:spcPts val="0"/>
              </a:spcBef>
              <a:defRPr/>
            </a:pPr>
            <a:endParaRPr lang="es-CL" sz="1600" b="1" dirty="0"/>
          </a:p>
        </p:txBody>
      </p:sp>
      <p:sp>
        <p:nvSpPr>
          <p:cNvPr id="8" name="68 Circular">
            <a:extLst>
              <a:ext uri="{FF2B5EF4-FFF2-40B4-BE49-F238E27FC236}">
                <a16:creationId xmlns="" xmlns:a16="http://schemas.microsoft.com/office/drawing/2014/main" id="{63141943-F01C-489B-5C00-83DE2F523AC7}"/>
              </a:ext>
            </a:extLst>
          </p:cNvPr>
          <p:cNvSpPr/>
          <p:nvPr userDrawn="1"/>
        </p:nvSpPr>
        <p:spPr bwMode="auto">
          <a:xfrm>
            <a:off x="4062789" y="1858292"/>
            <a:ext cx="4080002" cy="4004519"/>
          </a:xfrm>
          <a:prstGeom prst="pie">
            <a:avLst>
              <a:gd name="adj1" fmla="val 7533144"/>
              <a:gd name="adj2" fmla="val 10815581"/>
            </a:avLst>
          </a:prstGeom>
          <a:solidFill>
            <a:schemeClr val="accent1"/>
          </a:solidFill>
          <a:ln w="571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>
              <a:spcBef>
                <a:spcPts val="0"/>
              </a:spcBef>
              <a:defRPr/>
            </a:pPr>
            <a:endParaRPr lang="es-CL" sz="1600" b="1" dirty="0"/>
          </a:p>
        </p:txBody>
      </p:sp>
      <p:sp>
        <p:nvSpPr>
          <p:cNvPr id="9" name="65 Circular">
            <a:extLst>
              <a:ext uri="{FF2B5EF4-FFF2-40B4-BE49-F238E27FC236}">
                <a16:creationId xmlns="" xmlns:a16="http://schemas.microsoft.com/office/drawing/2014/main" id="{E1E58FCA-9675-9F10-947C-E0309EB8FEC2}"/>
              </a:ext>
            </a:extLst>
          </p:cNvPr>
          <p:cNvSpPr/>
          <p:nvPr userDrawn="1"/>
        </p:nvSpPr>
        <p:spPr bwMode="auto">
          <a:xfrm>
            <a:off x="4055999" y="1858292"/>
            <a:ext cx="4080002" cy="4004519"/>
          </a:xfrm>
          <a:prstGeom prst="pie">
            <a:avLst>
              <a:gd name="adj1" fmla="val 18202714"/>
              <a:gd name="adj2" fmla="val 21468150"/>
            </a:avLst>
          </a:prstGeom>
          <a:solidFill>
            <a:schemeClr val="accent1"/>
          </a:solidFill>
          <a:ln w="571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>
              <a:spcBef>
                <a:spcPts val="0"/>
              </a:spcBef>
              <a:defRPr/>
            </a:pPr>
            <a:endParaRPr lang="es-CL" sz="1600" b="1" dirty="0"/>
          </a:p>
        </p:txBody>
      </p:sp>
      <p:graphicFrame>
        <p:nvGraphicFramePr>
          <p:cNvPr id="15" name="Objeto 14" hidden="1">
            <a:extLst>
              <a:ext uri="{FF2B5EF4-FFF2-40B4-BE49-F238E27FC236}">
                <a16:creationId xmlns=""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0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=""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79DD609-3848-1A58-181F-8574EA59BFC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sp>
        <p:nvSpPr>
          <p:cNvPr id="43" name="Marcador de texto 34">
            <a:extLst>
              <a:ext uri="{FF2B5EF4-FFF2-40B4-BE49-F238E27FC236}">
                <a16:creationId xmlns="" xmlns:a16="http://schemas.microsoft.com/office/drawing/2014/main" id="{26473813-2D17-8739-5DED-8C699BE07458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442913" y="1858292"/>
            <a:ext cx="3098416" cy="1213051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44" name="Marcador de texto 34">
            <a:extLst>
              <a:ext uri="{FF2B5EF4-FFF2-40B4-BE49-F238E27FC236}">
                <a16:creationId xmlns="" xmlns:a16="http://schemas.microsoft.com/office/drawing/2014/main" id="{8D2ACCD1-3753-9BC7-99EC-FBE1D7872A18}"/>
              </a:ext>
            </a:extLst>
          </p:cNvPr>
          <p:cNvSpPr>
            <a:spLocks noGrp="1"/>
          </p:cNvSpPr>
          <p:nvPr userDrawn="1">
            <p:ph type="body" sz="quarter" idx="33" hasCustomPrompt="1"/>
          </p:nvPr>
        </p:nvSpPr>
        <p:spPr>
          <a:xfrm>
            <a:off x="8601698" y="1858292"/>
            <a:ext cx="3098416" cy="1213051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67" name="Marcador de texto 31">
            <a:extLst>
              <a:ext uri="{FF2B5EF4-FFF2-40B4-BE49-F238E27FC236}">
                <a16:creationId xmlns="" xmlns:a16="http://schemas.microsoft.com/office/drawing/2014/main" id="{97EA9A67-3D8B-DE06-91E1-A7281C8F5987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126279" y="2690954"/>
            <a:ext cx="357188" cy="3571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68" name="Marcador de texto 31">
            <a:extLst>
              <a:ext uri="{FF2B5EF4-FFF2-40B4-BE49-F238E27FC236}">
                <a16:creationId xmlns="" xmlns:a16="http://schemas.microsoft.com/office/drawing/2014/main" id="{278D51D4-BD9D-3610-690E-C4345F0E656A}"/>
              </a:ext>
            </a:extLst>
          </p:cNvPr>
          <p:cNvSpPr>
            <a:spLocks noGrp="1"/>
          </p:cNvSpPr>
          <p:nvPr userDrawn="1">
            <p:ph type="body" sz="quarter" idx="35" hasCustomPrompt="1"/>
          </p:nvPr>
        </p:nvSpPr>
        <p:spPr>
          <a:xfrm>
            <a:off x="7707021" y="2690954"/>
            <a:ext cx="357188" cy="3571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69" name="Marcador de texto 31">
            <a:extLst>
              <a:ext uri="{FF2B5EF4-FFF2-40B4-BE49-F238E27FC236}">
                <a16:creationId xmlns="" xmlns:a16="http://schemas.microsoft.com/office/drawing/2014/main" id="{C7DCFFED-BD23-3553-E531-D75E7FE18320}"/>
              </a:ext>
            </a:extLst>
          </p:cNvPr>
          <p:cNvSpPr>
            <a:spLocks noGrp="1"/>
          </p:cNvSpPr>
          <p:nvPr userDrawn="1">
            <p:ph type="body" sz="quarter" idx="36" hasCustomPrompt="1"/>
          </p:nvPr>
        </p:nvSpPr>
        <p:spPr>
          <a:xfrm>
            <a:off x="5917406" y="5654126"/>
            <a:ext cx="357188" cy="3571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77" name="Marcador de texto 34">
            <a:extLst>
              <a:ext uri="{FF2B5EF4-FFF2-40B4-BE49-F238E27FC236}">
                <a16:creationId xmlns="" xmlns:a16="http://schemas.microsoft.com/office/drawing/2014/main" id="{7E883DC9-18D7-6D65-6F60-A9CC233F79BB}"/>
              </a:ext>
            </a:extLst>
          </p:cNvPr>
          <p:cNvSpPr>
            <a:spLocks noGrp="1"/>
          </p:cNvSpPr>
          <p:nvPr userDrawn="1">
            <p:ph type="body" sz="quarter" idx="39" hasCustomPrompt="1"/>
          </p:nvPr>
        </p:nvSpPr>
        <p:spPr>
          <a:xfrm>
            <a:off x="5493685" y="4918461"/>
            <a:ext cx="1197976" cy="357188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8" name="Marcador de texto 31">
            <a:extLst>
              <a:ext uri="{FF2B5EF4-FFF2-40B4-BE49-F238E27FC236}">
                <a16:creationId xmlns="" xmlns:a16="http://schemas.microsoft.com/office/drawing/2014/main" id="{680CA95C-F6E8-8389-C799-88FD0A1D7B11}"/>
              </a:ext>
            </a:extLst>
          </p:cNvPr>
          <p:cNvSpPr>
            <a:spLocks noGrp="1"/>
          </p:cNvSpPr>
          <p:nvPr userDrawn="1">
            <p:ph type="body" sz="quarter" idx="41" hasCustomPrompt="1"/>
          </p:nvPr>
        </p:nvSpPr>
        <p:spPr>
          <a:xfrm>
            <a:off x="4126279" y="4615110"/>
            <a:ext cx="357188" cy="3571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29" name="Marcador de texto 31">
            <a:extLst>
              <a:ext uri="{FF2B5EF4-FFF2-40B4-BE49-F238E27FC236}">
                <a16:creationId xmlns="" xmlns:a16="http://schemas.microsoft.com/office/drawing/2014/main" id="{10B4DE77-B819-49D3-13B3-9A862C86D2FD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7707021" y="4615110"/>
            <a:ext cx="357188" cy="3571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46" name="Marcador de texto 34">
            <a:extLst>
              <a:ext uri="{FF2B5EF4-FFF2-40B4-BE49-F238E27FC236}">
                <a16:creationId xmlns="" xmlns:a16="http://schemas.microsoft.com/office/drawing/2014/main" id="{34EAAFE9-A9B1-6F8D-9775-E316E3518A2F}"/>
              </a:ext>
            </a:extLst>
          </p:cNvPr>
          <p:cNvSpPr>
            <a:spLocks noGrp="1"/>
          </p:cNvSpPr>
          <p:nvPr userDrawn="1">
            <p:ph type="body" sz="quarter" idx="44" hasCustomPrompt="1"/>
          </p:nvPr>
        </p:nvSpPr>
        <p:spPr>
          <a:xfrm>
            <a:off x="4329759" y="4120929"/>
            <a:ext cx="1197976" cy="357188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47" name="Marcador de texto 34">
            <a:extLst>
              <a:ext uri="{FF2B5EF4-FFF2-40B4-BE49-F238E27FC236}">
                <a16:creationId xmlns="" xmlns:a16="http://schemas.microsoft.com/office/drawing/2014/main" id="{DFFD05A5-B736-A806-3FB1-E758382EBFA5}"/>
              </a:ext>
            </a:extLst>
          </p:cNvPr>
          <p:cNvSpPr>
            <a:spLocks noGrp="1"/>
          </p:cNvSpPr>
          <p:nvPr userDrawn="1">
            <p:ph type="body" sz="quarter" idx="45" hasCustomPrompt="1"/>
          </p:nvPr>
        </p:nvSpPr>
        <p:spPr>
          <a:xfrm>
            <a:off x="6691661" y="4120929"/>
            <a:ext cx="1197976" cy="357188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48" name="Marcador de texto 34">
            <a:extLst>
              <a:ext uri="{FF2B5EF4-FFF2-40B4-BE49-F238E27FC236}">
                <a16:creationId xmlns="" xmlns:a16="http://schemas.microsoft.com/office/drawing/2014/main" id="{93A10BBE-E8E2-D140-F85E-AE27E4BC3BED}"/>
              </a:ext>
            </a:extLst>
          </p:cNvPr>
          <p:cNvSpPr>
            <a:spLocks noGrp="1"/>
          </p:cNvSpPr>
          <p:nvPr userDrawn="1">
            <p:ph type="body" sz="quarter" idx="46" hasCustomPrompt="1"/>
          </p:nvPr>
        </p:nvSpPr>
        <p:spPr>
          <a:xfrm>
            <a:off x="442913" y="3340729"/>
            <a:ext cx="3098416" cy="1213051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49" name="Marcador de texto 34">
            <a:extLst>
              <a:ext uri="{FF2B5EF4-FFF2-40B4-BE49-F238E27FC236}">
                <a16:creationId xmlns="" xmlns:a16="http://schemas.microsoft.com/office/drawing/2014/main" id="{C8C34860-EFF7-CFD9-C7D1-BA2401A084A9}"/>
              </a:ext>
            </a:extLst>
          </p:cNvPr>
          <p:cNvSpPr>
            <a:spLocks noGrp="1"/>
          </p:cNvSpPr>
          <p:nvPr userDrawn="1">
            <p:ph type="body" sz="quarter" idx="47" hasCustomPrompt="1"/>
          </p:nvPr>
        </p:nvSpPr>
        <p:spPr>
          <a:xfrm>
            <a:off x="8601698" y="3340729"/>
            <a:ext cx="3098416" cy="1213051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50" name="Marcador de texto 34">
            <a:extLst>
              <a:ext uri="{FF2B5EF4-FFF2-40B4-BE49-F238E27FC236}">
                <a16:creationId xmlns="" xmlns:a16="http://schemas.microsoft.com/office/drawing/2014/main" id="{3655D843-2854-5FEE-22E9-8695D748BB46}"/>
              </a:ext>
            </a:extLst>
          </p:cNvPr>
          <p:cNvSpPr>
            <a:spLocks noGrp="1"/>
          </p:cNvSpPr>
          <p:nvPr userDrawn="1">
            <p:ph type="body" sz="quarter" idx="48" hasCustomPrompt="1"/>
          </p:nvPr>
        </p:nvSpPr>
        <p:spPr>
          <a:xfrm>
            <a:off x="8601698" y="4781602"/>
            <a:ext cx="3098416" cy="1213051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3" name="Marcador de texto 34">
            <a:extLst>
              <a:ext uri="{FF2B5EF4-FFF2-40B4-BE49-F238E27FC236}">
                <a16:creationId xmlns="" xmlns:a16="http://schemas.microsoft.com/office/drawing/2014/main" id="{4757DA26-F42F-2A75-B6F0-ED2A7FDD316F}"/>
              </a:ext>
            </a:extLst>
          </p:cNvPr>
          <p:cNvSpPr>
            <a:spLocks noGrp="1"/>
          </p:cNvSpPr>
          <p:nvPr userDrawn="1">
            <p:ph type="body" sz="quarter" idx="49" hasCustomPrompt="1"/>
          </p:nvPr>
        </p:nvSpPr>
        <p:spPr>
          <a:xfrm>
            <a:off x="442913" y="4781602"/>
            <a:ext cx="3098416" cy="1213051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4" name="Oval 10">
            <a:extLst>
              <a:ext uri="{FF2B5EF4-FFF2-40B4-BE49-F238E27FC236}">
                <a16:creationId xmlns="" xmlns:a16="http://schemas.microsoft.com/office/drawing/2014/main" id="{DCB6549C-342C-814F-C82F-AA79B267D7D7}"/>
              </a:ext>
            </a:extLst>
          </p:cNvPr>
          <p:cNvSpPr>
            <a:spLocks noChangeAspect="1" noChangeArrowheads="1"/>
          </p:cNvSpPr>
          <p:nvPr userDrawn="1"/>
        </p:nvSpPr>
        <p:spPr bwMode="gray">
          <a:xfrm>
            <a:off x="5495778" y="3399102"/>
            <a:ext cx="1197976" cy="1166967"/>
          </a:xfrm>
          <a:prstGeom prst="ellipse">
            <a:avLst/>
          </a:prstGeom>
          <a:solidFill>
            <a:schemeClr val="accent2"/>
          </a:solidFill>
          <a:ln w="57150">
            <a:solidFill>
              <a:srgbClr val="FFFFFF"/>
            </a:solidFill>
            <a:round/>
            <a:headEnd type="none" w="sm" len="sm"/>
            <a:tailEnd type="none" w="sm" len="sm"/>
          </a:ln>
        </p:spPr>
        <p:txBody>
          <a:bodyPr wrap="none" lIns="91422" tIns="45711" rIns="91422" bIns="45711" anchor="ctr"/>
          <a:lstStyle>
            <a:lvl1pPr>
              <a:defRPr sz="1500">
                <a:solidFill>
                  <a:srgbClr val="000000"/>
                </a:solidFill>
                <a:latin typeface="Verdana" pitchFamily="34" charset="0"/>
              </a:defRPr>
            </a:lvl1pPr>
            <a:lvl2pPr marL="742950" indent="-285750">
              <a:defRPr sz="1500">
                <a:solidFill>
                  <a:srgbClr val="000000"/>
                </a:solidFill>
                <a:latin typeface="Verdana" pitchFamily="34" charset="0"/>
              </a:defRPr>
            </a:lvl2pPr>
            <a:lvl3pPr marL="1143000" indent="-228600">
              <a:defRPr sz="1500">
                <a:solidFill>
                  <a:srgbClr val="000000"/>
                </a:solidFill>
                <a:latin typeface="Verdana" pitchFamily="34" charset="0"/>
              </a:defRPr>
            </a:lvl3pPr>
            <a:lvl4pPr marL="1600200" indent="-228600">
              <a:defRPr sz="1500">
                <a:solidFill>
                  <a:srgbClr val="000000"/>
                </a:solidFill>
                <a:latin typeface="Verdana" pitchFamily="34" charset="0"/>
              </a:defRPr>
            </a:lvl4pPr>
            <a:lvl5pPr marL="2057400" indent="-228600">
              <a:defRPr sz="1500">
                <a:solidFill>
                  <a:srgbClr val="000000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00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00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00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000000"/>
                </a:solidFill>
                <a:latin typeface="Verdana" pitchFamily="34" charset="0"/>
              </a:defRPr>
            </a:lvl9pPr>
          </a:lstStyle>
          <a:p>
            <a:pPr algn="ctr" defTabSz="914400" eaLnBrk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s-CL" altLang="es-CL" sz="1400" b="1" noProof="1">
              <a:solidFill>
                <a:srgbClr val="004C14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Marcador de texto 34">
            <a:extLst>
              <a:ext uri="{FF2B5EF4-FFF2-40B4-BE49-F238E27FC236}">
                <a16:creationId xmlns="" xmlns:a16="http://schemas.microsoft.com/office/drawing/2014/main" id="{35788F25-7620-B666-95D7-C89386BD3857}"/>
              </a:ext>
            </a:extLst>
          </p:cNvPr>
          <p:cNvSpPr>
            <a:spLocks noGrp="1"/>
          </p:cNvSpPr>
          <p:nvPr userDrawn="1">
            <p:ph type="body" sz="quarter" idx="40" hasCustomPrompt="1"/>
          </p:nvPr>
        </p:nvSpPr>
        <p:spPr>
          <a:xfrm>
            <a:off x="5493685" y="3837808"/>
            <a:ext cx="1197976" cy="357188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1" name="Marcador de texto 31">
            <a:extLst>
              <a:ext uri="{FF2B5EF4-FFF2-40B4-BE49-F238E27FC236}">
                <a16:creationId xmlns="" xmlns:a16="http://schemas.microsoft.com/office/drawing/2014/main" id="{45960488-14AD-AE4E-69D8-19DBD4359525}"/>
              </a:ext>
            </a:extLst>
          </p:cNvPr>
          <p:cNvSpPr>
            <a:spLocks noGrp="1"/>
          </p:cNvSpPr>
          <p:nvPr userDrawn="1">
            <p:ph type="body" sz="quarter" idx="50" hasCustomPrompt="1"/>
          </p:nvPr>
        </p:nvSpPr>
        <p:spPr>
          <a:xfrm>
            <a:off x="5917406" y="1691726"/>
            <a:ext cx="357188" cy="3571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32" name="Marcador de texto 34">
            <a:extLst>
              <a:ext uri="{FF2B5EF4-FFF2-40B4-BE49-F238E27FC236}">
                <a16:creationId xmlns="" xmlns:a16="http://schemas.microsoft.com/office/drawing/2014/main" id="{E9FFC526-2056-5717-28DE-70A7881791D3}"/>
              </a:ext>
            </a:extLst>
          </p:cNvPr>
          <p:cNvSpPr>
            <a:spLocks noGrp="1"/>
          </p:cNvSpPr>
          <p:nvPr userDrawn="1">
            <p:ph type="body" sz="quarter" idx="51" hasCustomPrompt="1"/>
          </p:nvPr>
        </p:nvSpPr>
        <p:spPr>
          <a:xfrm>
            <a:off x="4329759" y="3109548"/>
            <a:ext cx="1197976" cy="357188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3" name="Marcador de texto 34">
            <a:extLst>
              <a:ext uri="{FF2B5EF4-FFF2-40B4-BE49-F238E27FC236}">
                <a16:creationId xmlns="" xmlns:a16="http://schemas.microsoft.com/office/drawing/2014/main" id="{2551CF0C-1FCF-BBA6-6ECA-78F404805DC3}"/>
              </a:ext>
            </a:extLst>
          </p:cNvPr>
          <p:cNvSpPr>
            <a:spLocks noGrp="1"/>
          </p:cNvSpPr>
          <p:nvPr userDrawn="1">
            <p:ph type="body" sz="quarter" idx="52" hasCustomPrompt="1"/>
          </p:nvPr>
        </p:nvSpPr>
        <p:spPr>
          <a:xfrm>
            <a:off x="6691661" y="3109548"/>
            <a:ext cx="1197976" cy="357188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42" name="Marcador de texto 34">
            <a:extLst>
              <a:ext uri="{FF2B5EF4-FFF2-40B4-BE49-F238E27FC236}">
                <a16:creationId xmlns="" xmlns:a16="http://schemas.microsoft.com/office/drawing/2014/main" id="{CDE6333E-4444-1C3D-0934-E80757237CE1}"/>
              </a:ext>
            </a:extLst>
          </p:cNvPr>
          <p:cNvSpPr>
            <a:spLocks noGrp="1"/>
          </p:cNvSpPr>
          <p:nvPr userDrawn="1">
            <p:ph type="body" sz="quarter" idx="53" hasCustomPrompt="1"/>
          </p:nvPr>
        </p:nvSpPr>
        <p:spPr>
          <a:xfrm>
            <a:off x="5493685" y="2521625"/>
            <a:ext cx="1197976" cy="357188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" name="Marcador de pie de página 2"/>
          <p:cNvSpPr>
            <a:spLocks noGrp="1"/>
          </p:cNvSpPr>
          <p:nvPr userDrawn="1">
            <p:ph type="ftr" sz="quarter" idx="54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10" name="Marcador de número de diapositiva 9"/>
          <p:cNvSpPr>
            <a:spLocks noGrp="1"/>
          </p:cNvSpPr>
          <p:nvPr userDrawn="1">
            <p:ph type="sldNum" sz="quarter" idx="55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996565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=""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4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=""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sp>
        <p:nvSpPr>
          <p:cNvPr id="84" name="Marcador de texto 34">
            <a:extLst>
              <a:ext uri="{FF2B5EF4-FFF2-40B4-BE49-F238E27FC236}">
                <a16:creationId xmlns="" xmlns:a16="http://schemas.microsoft.com/office/drawing/2014/main" id="{E3EB779C-B84A-5210-6215-9E8CCB20FBC6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447579" y="1557338"/>
            <a:ext cx="2608499" cy="4572522"/>
          </a:xfrm>
          <a:solidFill>
            <a:schemeClr val="tx2"/>
          </a:solidFill>
        </p:spPr>
        <p:txBody>
          <a:bodyPr lIns="180000" tIns="1800000" rIns="180000" bIns="180000" anchor="t">
            <a:noAutofit/>
          </a:bodyPr>
          <a:lstStyle>
            <a:lvl1pPr marL="0" indent="0" algn="ctr"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85" name="Marcador de texto 31">
            <a:extLst>
              <a:ext uri="{FF2B5EF4-FFF2-40B4-BE49-F238E27FC236}">
                <a16:creationId xmlns="" xmlns:a16="http://schemas.microsoft.com/office/drawing/2014/main" id="{318312FA-F729-D325-632B-8AADDA428B1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97859" y="1744036"/>
            <a:ext cx="1307939" cy="130793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86" name="Marcador de texto 34">
            <a:extLst>
              <a:ext uri="{FF2B5EF4-FFF2-40B4-BE49-F238E27FC236}">
                <a16:creationId xmlns="" xmlns:a16="http://schemas.microsoft.com/office/drawing/2014/main" id="{4929FB42-473D-4732-A25C-6A0885CAB42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357033" y="1557338"/>
            <a:ext cx="2608499" cy="4572522"/>
          </a:xfrm>
          <a:solidFill>
            <a:schemeClr val="tx2"/>
          </a:solidFill>
        </p:spPr>
        <p:txBody>
          <a:bodyPr lIns="180000" tIns="1800000" rIns="180000" bIns="180000" anchor="t">
            <a:noAutofit/>
          </a:bodyPr>
          <a:lstStyle>
            <a:lvl1pPr marL="0" indent="0" algn="ctr"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87" name="Marcador de texto 31">
            <a:extLst>
              <a:ext uri="{FF2B5EF4-FFF2-40B4-BE49-F238E27FC236}">
                <a16:creationId xmlns="" xmlns:a16="http://schemas.microsoft.com/office/drawing/2014/main" id="{E94272B6-0EA7-74AE-A428-D5479E9D53E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007313" y="1744036"/>
            <a:ext cx="1307939" cy="130793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88" name="Marcador de texto 34">
            <a:extLst>
              <a:ext uri="{FF2B5EF4-FFF2-40B4-BE49-F238E27FC236}">
                <a16:creationId xmlns="" xmlns:a16="http://schemas.microsoft.com/office/drawing/2014/main" id="{8705252F-4C82-D3FC-981D-21803E92246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224925" y="1557338"/>
            <a:ext cx="2608499" cy="4572522"/>
          </a:xfrm>
          <a:solidFill>
            <a:schemeClr val="tx2"/>
          </a:solidFill>
        </p:spPr>
        <p:txBody>
          <a:bodyPr lIns="180000" tIns="1800000" rIns="180000" bIns="180000" anchor="t">
            <a:noAutofit/>
          </a:bodyPr>
          <a:lstStyle>
            <a:lvl1pPr marL="0" indent="0" algn="ctr"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89" name="Marcador de texto 31">
            <a:extLst>
              <a:ext uri="{FF2B5EF4-FFF2-40B4-BE49-F238E27FC236}">
                <a16:creationId xmlns="" xmlns:a16="http://schemas.microsoft.com/office/drawing/2014/main" id="{08CBAFB7-88DC-C0A5-1819-FA9F0E25785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875205" y="1744036"/>
            <a:ext cx="1307939" cy="130793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90" name="Marcador de texto 34">
            <a:extLst>
              <a:ext uri="{FF2B5EF4-FFF2-40B4-BE49-F238E27FC236}">
                <a16:creationId xmlns="" xmlns:a16="http://schemas.microsoft.com/office/drawing/2014/main" id="{7113DBF5-8DF1-E7B0-269C-B3FBC41359E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134379" y="1557338"/>
            <a:ext cx="2608499" cy="4572522"/>
          </a:xfrm>
          <a:solidFill>
            <a:schemeClr val="tx2"/>
          </a:solidFill>
        </p:spPr>
        <p:txBody>
          <a:bodyPr lIns="180000" tIns="1800000" rIns="180000" bIns="180000" anchor="t">
            <a:noAutofit/>
          </a:bodyPr>
          <a:lstStyle>
            <a:lvl1pPr marL="0" indent="0" algn="ctr"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91" name="Marcador de texto 31">
            <a:extLst>
              <a:ext uri="{FF2B5EF4-FFF2-40B4-BE49-F238E27FC236}">
                <a16:creationId xmlns="" xmlns:a16="http://schemas.microsoft.com/office/drawing/2014/main" id="{BA50ADE4-3B87-FB77-ECF0-C00278DC47B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9784659" y="1744036"/>
            <a:ext cx="1307939" cy="130793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56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7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3446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5 pun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=""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=""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2">
            <a:extLst>
              <a:ext uri="{FF2B5EF4-FFF2-40B4-BE49-F238E27FC236}">
                <a16:creationId xmlns="" xmlns:a16="http://schemas.microsoft.com/office/drawing/2014/main" id="{3FD28DAD-337D-CBAA-D8CD-D04E50C9B6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22204" t="33265"/>
          <a:stretch/>
        </p:blipFill>
        <p:spPr>
          <a:xfrm>
            <a:off x="0" y="-1"/>
            <a:ext cx="5439188" cy="4576669"/>
          </a:xfrm>
          <a:prstGeom prst="rect">
            <a:avLst/>
          </a:prstGeom>
        </p:spPr>
      </p:pic>
      <p:sp>
        <p:nvSpPr>
          <p:cNvPr id="16" name="Título 1">
            <a:extLst>
              <a:ext uri="{FF2B5EF4-FFF2-40B4-BE49-F238E27FC236}">
                <a16:creationId xmlns="" xmlns:a16="http://schemas.microsoft.com/office/drawing/2014/main" id="{480F94C3-E251-0A4D-B7E8-0D448B426F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6" y="592636"/>
            <a:ext cx="3138296" cy="1162442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Texto</a:t>
            </a:r>
            <a:endParaRPr lang="es-CL" dirty="0"/>
          </a:p>
        </p:txBody>
      </p:sp>
      <p:sp>
        <p:nvSpPr>
          <p:cNvPr id="17" name="Marcador de texto 4">
            <a:extLst>
              <a:ext uri="{FF2B5EF4-FFF2-40B4-BE49-F238E27FC236}">
                <a16:creationId xmlns="" xmlns:a16="http://schemas.microsoft.com/office/drawing/2014/main" id="{10E1D212-0562-6DF1-E1DA-9955FC695D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55556" y="592635"/>
            <a:ext cx="1199956" cy="8792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7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18" name="Marcador de texto 4">
            <a:extLst>
              <a:ext uri="{FF2B5EF4-FFF2-40B4-BE49-F238E27FC236}">
                <a16:creationId xmlns="" xmlns:a16="http://schemas.microsoft.com/office/drawing/2014/main" id="{76E29E71-6799-27B0-061A-872A06088065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555556" y="1755077"/>
            <a:ext cx="1199956" cy="8792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7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19" name="Marcador de texto 4">
            <a:extLst>
              <a:ext uri="{FF2B5EF4-FFF2-40B4-BE49-F238E27FC236}">
                <a16:creationId xmlns="" xmlns:a16="http://schemas.microsoft.com/office/drawing/2014/main" id="{AE6DBC10-9368-CE05-8338-726B25AE038C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555556" y="2972075"/>
            <a:ext cx="1199956" cy="8792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7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0" name="Marcador de texto 4">
            <a:extLst>
              <a:ext uri="{FF2B5EF4-FFF2-40B4-BE49-F238E27FC236}">
                <a16:creationId xmlns="" xmlns:a16="http://schemas.microsoft.com/office/drawing/2014/main" id="{B2FDEEFD-7DEE-2BAD-A2B9-91A02403803B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555556" y="4174436"/>
            <a:ext cx="1199956" cy="8792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7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1" name="Marcador de texto 4">
            <a:extLst>
              <a:ext uri="{FF2B5EF4-FFF2-40B4-BE49-F238E27FC236}">
                <a16:creationId xmlns="" xmlns:a16="http://schemas.microsoft.com/office/drawing/2014/main" id="{BEE802A2-00A8-D033-BA50-92F4DA811BC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555556" y="5418742"/>
            <a:ext cx="1199956" cy="8792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7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22" name="Marcador de texto 7">
            <a:extLst>
              <a:ext uri="{FF2B5EF4-FFF2-40B4-BE49-F238E27FC236}">
                <a16:creationId xmlns="" xmlns:a16="http://schemas.microsoft.com/office/drawing/2014/main" id="{E2B3526A-E352-6B42-9A86-8AA9AFCEC9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89780" y="3401189"/>
            <a:ext cx="4545093" cy="4469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  <p:sp>
        <p:nvSpPr>
          <p:cNvPr id="23" name="Marcador de texto 7">
            <a:extLst>
              <a:ext uri="{FF2B5EF4-FFF2-40B4-BE49-F238E27FC236}">
                <a16:creationId xmlns="" xmlns:a16="http://schemas.microsoft.com/office/drawing/2014/main" id="{1B703A3D-4A7A-A34D-8B38-7D59E6C8C6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9780" y="4611153"/>
            <a:ext cx="4545093" cy="4469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  <p:sp>
        <p:nvSpPr>
          <p:cNvPr id="24" name="Marcador de texto 7">
            <a:extLst>
              <a:ext uri="{FF2B5EF4-FFF2-40B4-BE49-F238E27FC236}">
                <a16:creationId xmlns="" xmlns:a16="http://schemas.microsoft.com/office/drawing/2014/main" id="{8D533A59-3325-A644-A68A-14B901EDBB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89780" y="5844932"/>
            <a:ext cx="4545093" cy="4548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  <p:sp>
        <p:nvSpPr>
          <p:cNvPr id="25" name="Marcador de texto 7">
            <a:extLst>
              <a:ext uri="{FF2B5EF4-FFF2-40B4-BE49-F238E27FC236}">
                <a16:creationId xmlns="" xmlns:a16="http://schemas.microsoft.com/office/drawing/2014/main" id="{9A1A12C9-C268-CA49-8691-5A3A9581BC7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89780" y="2191654"/>
            <a:ext cx="4545093" cy="4469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  <p:sp>
        <p:nvSpPr>
          <p:cNvPr id="26" name="Marcador de texto 7">
            <a:extLst>
              <a:ext uri="{FF2B5EF4-FFF2-40B4-BE49-F238E27FC236}">
                <a16:creationId xmlns="" xmlns:a16="http://schemas.microsoft.com/office/drawing/2014/main" id="{C3195266-81DB-5332-821A-DE9FE43D11F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89780" y="1032490"/>
            <a:ext cx="4545093" cy="4469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95190694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=""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8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=""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sp>
        <p:nvSpPr>
          <p:cNvPr id="27" name="Marcador de texto 34">
            <a:extLst>
              <a:ext uri="{FF2B5EF4-FFF2-40B4-BE49-F238E27FC236}">
                <a16:creationId xmlns="" xmlns:a16="http://schemas.microsoft.com/office/drawing/2014/main" id="{6D1BD107-9DD2-34F6-5DB9-4AE55D45438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102395" y="1557338"/>
            <a:ext cx="6312049" cy="1307939"/>
          </a:xfrm>
          <a:solidFill>
            <a:schemeClr val="tx2"/>
          </a:solidFill>
        </p:spPr>
        <p:txBody>
          <a:bodyPr lIns="900000" tIns="180000" rIns="180000" bIns="180000" anchor="ctr">
            <a:noAutofit/>
          </a:bodyPr>
          <a:lstStyle>
            <a:lvl1pPr marL="0" indent="0" algn="l"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8" name="Marcador de texto 31">
            <a:extLst>
              <a:ext uri="{FF2B5EF4-FFF2-40B4-BE49-F238E27FC236}">
                <a16:creationId xmlns="" xmlns:a16="http://schemas.microsoft.com/office/drawing/2014/main" id="{852F6569-C635-4AE1-B058-A0E8F7662E6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7578" y="1557338"/>
            <a:ext cx="1307939" cy="130793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29" name="Marcador de texto 34">
            <a:extLst>
              <a:ext uri="{FF2B5EF4-FFF2-40B4-BE49-F238E27FC236}">
                <a16:creationId xmlns="" xmlns:a16="http://schemas.microsoft.com/office/drawing/2014/main" id="{07DA537F-1AF8-929F-0DDE-75406EB1BB21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717438" y="3164913"/>
            <a:ext cx="6312049" cy="1307939"/>
          </a:xfrm>
          <a:solidFill>
            <a:schemeClr val="tx2"/>
          </a:solidFill>
        </p:spPr>
        <p:txBody>
          <a:bodyPr lIns="900000" tIns="180000" rIns="180000" bIns="180000" anchor="ctr">
            <a:noAutofit/>
          </a:bodyPr>
          <a:lstStyle>
            <a:lvl1pPr marL="0" indent="0" algn="l"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0" name="Marcador de texto 31">
            <a:extLst>
              <a:ext uri="{FF2B5EF4-FFF2-40B4-BE49-F238E27FC236}">
                <a16:creationId xmlns="" xmlns:a16="http://schemas.microsoft.com/office/drawing/2014/main" id="{BD0C1EB3-E50D-92F7-9BEB-1B453A27F1C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2062621" y="3165108"/>
            <a:ext cx="1307939" cy="130793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31" name="Marcador de texto 34">
            <a:extLst>
              <a:ext uri="{FF2B5EF4-FFF2-40B4-BE49-F238E27FC236}">
                <a16:creationId xmlns="" xmlns:a16="http://schemas.microsoft.com/office/drawing/2014/main" id="{F98FD673-D178-BE4A-3D33-C09DCB5F3B06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246883" y="4772488"/>
            <a:ext cx="6312049" cy="1307939"/>
          </a:xfrm>
          <a:solidFill>
            <a:schemeClr val="tx2"/>
          </a:solidFill>
        </p:spPr>
        <p:txBody>
          <a:bodyPr lIns="900000" tIns="180000" rIns="180000" bIns="180000" anchor="ctr">
            <a:noAutofit/>
          </a:bodyPr>
          <a:lstStyle>
            <a:lvl1pPr marL="0" indent="0" algn="l"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2" name="Marcador de texto 31">
            <a:extLst>
              <a:ext uri="{FF2B5EF4-FFF2-40B4-BE49-F238E27FC236}">
                <a16:creationId xmlns="" xmlns:a16="http://schemas.microsoft.com/office/drawing/2014/main" id="{5CE5BD6A-3103-B0B5-922C-94C2C20C94C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592066" y="4772877"/>
            <a:ext cx="1307939" cy="130793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 </a:t>
            </a:r>
            <a:endParaRPr lang="es-CL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882939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ínea de tiemp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=""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2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=""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sp>
        <p:nvSpPr>
          <p:cNvPr id="34" name="Marcador de texto 34">
            <a:extLst>
              <a:ext uri="{FF2B5EF4-FFF2-40B4-BE49-F238E27FC236}">
                <a16:creationId xmlns="" xmlns:a16="http://schemas.microsoft.com/office/drawing/2014/main" id="{1F4DD714-404D-F451-2C40-C6184723D66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35975" y="1304925"/>
            <a:ext cx="903104" cy="252413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Año</a:t>
            </a:r>
            <a:endParaRPr lang="es-CL" dirty="0"/>
          </a:p>
        </p:txBody>
      </p:sp>
      <p:sp>
        <p:nvSpPr>
          <p:cNvPr id="35" name="Marcador de texto 34">
            <a:extLst>
              <a:ext uri="{FF2B5EF4-FFF2-40B4-BE49-F238E27FC236}">
                <a16:creationId xmlns="" xmlns:a16="http://schemas.microsoft.com/office/drawing/2014/main" id="{25B0AD76-B137-02A4-07E5-122F377922C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747972" y="1304925"/>
            <a:ext cx="903104" cy="252413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Año</a:t>
            </a:r>
            <a:endParaRPr lang="es-CL" dirty="0"/>
          </a:p>
        </p:txBody>
      </p:sp>
      <p:sp>
        <p:nvSpPr>
          <p:cNvPr id="36" name="Marcador de texto 34">
            <a:extLst>
              <a:ext uri="{FF2B5EF4-FFF2-40B4-BE49-F238E27FC236}">
                <a16:creationId xmlns="" xmlns:a16="http://schemas.microsoft.com/office/drawing/2014/main" id="{B96DC186-85C0-38DC-08CE-92744A94E02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059969" y="1304925"/>
            <a:ext cx="903104" cy="252413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Año</a:t>
            </a:r>
            <a:endParaRPr lang="es-CL" dirty="0"/>
          </a:p>
        </p:txBody>
      </p:sp>
      <p:sp>
        <p:nvSpPr>
          <p:cNvPr id="37" name="Marcador de texto 34">
            <a:extLst>
              <a:ext uri="{FF2B5EF4-FFF2-40B4-BE49-F238E27FC236}">
                <a16:creationId xmlns="" xmlns:a16="http://schemas.microsoft.com/office/drawing/2014/main" id="{40E7975B-93A3-82E4-7C5F-AE17B9E022C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371966" y="1304925"/>
            <a:ext cx="903104" cy="252413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Año</a:t>
            </a:r>
            <a:endParaRPr lang="es-CL" dirty="0"/>
          </a:p>
        </p:txBody>
      </p:sp>
      <p:sp>
        <p:nvSpPr>
          <p:cNvPr id="38" name="Marcador de texto 34">
            <a:extLst>
              <a:ext uri="{FF2B5EF4-FFF2-40B4-BE49-F238E27FC236}">
                <a16:creationId xmlns="" xmlns:a16="http://schemas.microsoft.com/office/drawing/2014/main" id="{C22D84BC-5F79-C766-96AC-202CAF00BB1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683963" y="1304925"/>
            <a:ext cx="903104" cy="252413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Año</a:t>
            </a:r>
            <a:endParaRPr lang="es-CL" dirty="0"/>
          </a:p>
        </p:txBody>
      </p:sp>
      <p:sp>
        <p:nvSpPr>
          <p:cNvPr id="39" name="Marcador de texto 49">
            <a:extLst>
              <a:ext uri="{FF2B5EF4-FFF2-40B4-BE49-F238E27FC236}">
                <a16:creationId xmlns="" xmlns:a16="http://schemas.microsoft.com/office/drawing/2014/main" id="{9D9856A9-4A47-DE98-0A3E-417E9C02C7D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54028" y="4344177"/>
            <a:ext cx="2052000" cy="1097208"/>
          </a:xfrm>
          <a:noFill/>
        </p:spPr>
        <p:txBody>
          <a:bodyPr anchor="t">
            <a:no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40" name="Marcador de texto 49">
            <a:extLst>
              <a:ext uri="{FF2B5EF4-FFF2-40B4-BE49-F238E27FC236}">
                <a16:creationId xmlns="" xmlns:a16="http://schemas.microsoft.com/office/drawing/2014/main" id="{A83B9382-DE72-C65F-60C3-5CFD388674E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068442" y="4344177"/>
            <a:ext cx="2052000" cy="1097208"/>
          </a:xfrm>
          <a:noFill/>
        </p:spPr>
        <p:txBody>
          <a:bodyPr anchor="t">
            <a:no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41" name="Marcador de texto 49">
            <a:extLst>
              <a:ext uri="{FF2B5EF4-FFF2-40B4-BE49-F238E27FC236}">
                <a16:creationId xmlns="" xmlns:a16="http://schemas.microsoft.com/office/drawing/2014/main" id="{1958E19B-E1EC-4AC1-B917-EC7B1CCD0D8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676986" y="4344177"/>
            <a:ext cx="2052000" cy="1097208"/>
          </a:xfrm>
          <a:noFill/>
        </p:spPr>
        <p:txBody>
          <a:bodyPr anchor="t">
            <a:no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42" name="Marcador de texto 49">
            <a:extLst>
              <a:ext uri="{FF2B5EF4-FFF2-40B4-BE49-F238E27FC236}">
                <a16:creationId xmlns="" xmlns:a16="http://schemas.microsoft.com/office/drawing/2014/main" id="{55BDC762-466B-D545-7C3D-B7E0F08D93C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351173" y="3281441"/>
            <a:ext cx="2052000" cy="1097208"/>
          </a:xfrm>
          <a:noFill/>
        </p:spPr>
        <p:txBody>
          <a:bodyPr anchor="t">
            <a:no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43" name="Marcador de texto 49">
            <a:extLst>
              <a:ext uri="{FF2B5EF4-FFF2-40B4-BE49-F238E27FC236}">
                <a16:creationId xmlns="" xmlns:a16="http://schemas.microsoft.com/office/drawing/2014/main" id="{28F54150-1083-DA95-A448-CB39A207511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761235" y="3281441"/>
            <a:ext cx="2052000" cy="1097208"/>
          </a:xfrm>
          <a:noFill/>
        </p:spPr>
        <p:txBody>
          <a:bodyPr anchor="t">
            <a:no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44" name="Marcador de texto 49">
            <a:extLst>
              <a:ext uri="{FF2B5EF4-FFF2-40B4-BE49-F238E27FC236}">
                <a16:creationId xmlns="" xmlns:a16="http://schemas.microsoft.com/office/drawing/2014/main" id="{88B882DD-CAC4-D272-177A-C4334BD90161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54028" y="3821663"/>
            <a:ext cx="2052000" cy="472606"/>
          </a:xfrm>
          <a:solidFill>
            <a:schemeClr val="tx2"/>
          </a:solidFill>
        </p:spPr>
        <p:txBody>
          <a:bodyPr anchor="ctr">
            <a:noAutofit/>
          </a:bodyPr>
          <a:lstStyle>
            <a:lvl1pPr marL="0" indent="0">
              <a:buNone/>
              <a:defRPr sz="12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45" name="Marcador de texto 49">
            <a:extLst>
              <a:ext uri="{FF2B5EF4-FFF2-40B4-BE49-F238E27FC236}">
                <a16:creationId xmlns="" xmlns:a16="http://schemas.microsoft.com/office/drawing/2014/main" id="{E6930F88-7465-93A0-9C40-8BDBD911A106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065508" y="3821663"/>
            <a:ext cx="2052000" cy="472606"/>
          </a:xfrm>
          <a:solidFill>
            <a:schemeClr val="tx2"/>
          </a:solidFill>
        </p:spPr>
        <p:txBody>
          <a:bodyPr anchor="ctr">
            <a:noAutofit/>
          </a:bodyPr>
          <a:lstStyle>
            <a:lvl1pPr marL="0" indent="0">
              <a:buNone/>
              <a:defRPr sz="12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67" name="Marcador de texto 49">
            <a:extLst>
              <a:ext uri="{FF2B5EF4-FFF2-40B4-BE49-F238E27FC236}">
                <a16:creationId xmlns="" xmlns:a16="http://schemas.microsoft.com/office/drawing/2014/main" id="{A5FE6BE7-BB70-DB70-87EF-DE7FDFAB18E6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9676986" y="3821663"/>
            <a:ext cx="2052000" cy="472606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>
              <a:buNone/>
              <a:defRPr sz="1200" b="1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68" name="Marcador de texto 49">
            <a:extLst>
              <a:ext uri="{FF2B5EF4-FFF2-40B4-BE49-F238E27FC236}">
                <a16:creationId xmlns="" xmlns:a16="http://schemas.microsoft.com/office/drawing/2014/main" id="{56F5FD8D-690C-C02E-6D99-2727F64C6E8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2759768" y="2755675"/>
            <a:ext cx="2052000" cy="472606"/>
          </a:xfrm>
          <a:solidFill>
            <a:schemeClr val="tx2"/>
          </a:solidFill>
        </p:spPr>
        <p:txBody>
          <a:bodyPr anchor="ctr">
            <a:noAutofit/>
          </a:bodyPr>
          <a:lstStyle>
            <a:lvl1pPr marL="0" indent="0">
              <a:buNone/>
              <a:defRPr sz="12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69" name="Marcador de texto 49">
            <a:extLst>
              <a:ext uri="{FF2B5EF4-FFF2-40B4-BE49-F238E27FC236}">
                <a16:creationId xmlns="" xmlns:a16="http://schemas.microsoft.com/office/drawing/2014/main" id="{90FDF2AD-7C27-E2B2-5648-D7158B4D61F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371248" y="2755675"/>
            <a:ext cx="2052000" cy="472606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>
              <a:buNone/>
              <a:defRPr sz="1200" b="1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70" name="Marcador de texto 34">
            <a:extLst>
              <a:ext uri="{FF2B5EF4-FFF2-40B4-BE49-F238E27FC236}">
                <a16:creationId xmlns="" xmlns:a16="http://schemas.microsoft.com/office/drawing/2014/main" id="{B4A7D195-C102-F7F4-9B29-0C62CEC5C9A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35975" y="1844616"/>
            <a:ext cx="45719" cy="1897105"/>
          </a:xfrm>
          <a:prstGeom prst="downArrow">
            <a:avLst/>
          </a:prstGeom>
          <a:solidFill>
            <a:schemeClr val="tx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   </a:t>
            </a:r>
            <a:endParaRPr lang="es-CL" dirty="0"/>
          </a:p>
        </p:txBody>
      </p:sp>
      <p:sp>
        <p:nvSpPr>
          <p:cNvPr id="71" name="Marcador de texto 34">
            <a:extLst>
              <a:ext uri="{FF2B5EF4-FFF2-40B4-BE49-F238E27FC236}">
                <a16:creationId xmlns="" xmlns:a16="http://schemas.microsoft.com/office/drawing/2014/main" id="{351C0F95-7835-B911-7CD7-B6E22072A277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 flipH="1">
            <a:off x="2754254" y="1833692"/>
            <a:ext cx="45719" cy="868824"/>
          </a:xfrm>
          <a:prstGeom prst="downArrow">
            <a:avLst/>
          </a:prstGeom>
          <a:solidFill>
            <a:schemeClr val="tx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   </a:t>
            </a:r>
            <a:endParaRPr lang="es-CL" dirty="0"/>
          </a:p>
        </p:txBody>
      </p:sp>
      <p:sp>
        <p:nvSpPr>
          <p:cNvPr id="72" name="Marcador de texto 34">
            <a:extLst>
              <a:ext uri="{FF2B5EF4-FFF2-40B4-BE49-F238E27FC236}">
                <a16:creationId xmlns="" xmlns:a16="http://schemas.microsoft.com/office/drawing/2014/main" id="{BC21A1D9-FA0E-57A2-CA6F-1AE6B295115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072533" y="1833691"/>
            <a:ext cx="45719" cy="1897105"/>
          </a:xfrm>
          <a:prstGeom prst="downArrow">
            <a:avLst/>
          </a:prstGeom>
          <a:solidFill>
            <a:schemeClr val="tx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   </a:t>
            </a:r>
            <a:endParaRPr lang="es-CL" dirty="0"/>
          </a:p>
        </p:txBody>
      </p:sp>
      <p:sp>
        <p:nvSpPr>
          <p:cNvPr id="73" name="Marcador de texto 34">
            <a:extLst>
              <a:ext uri="{FF2B5EF4-FFF2-40B4-BE49-F238E27FC236}">
                <a16:creationId xmlns="" xmlns:a16="http://schemas.microsoft.com/office/drawing/2014/main" id="{4B3C630F-6F19-60C1-7223-E12A2F337C15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 flipH="1">
            <a:off x="7390812" y="1833692"/>
            <a:ext cx="45719" cy="868824"/>
          </a:xfrm>
          <a:prstGeom prst="downArrow">
            <a:avLst/>
          </a:prstGeom>
          <a:solidFill>
            <a:schemeClr val="tx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   </a:t>
            </a:r>
            <a:endParaRPr lang="es-CL" dirty="0"/>
          </a:p>
        </p:txBody>
      </p:sp>
      <p:sp>
        <p:nvSpPr>
          <p:cNvPr id="74" name="Marcador de texto 34">
            <a:extLst>
              <a:ext uri="{FF2B5EF4-FFF2-40B4-BE49-F238E27FC236}">
                <a16:creationId xmlns="" xmlns:a16="http://schemas.microsoft.com/office/drawing/2014/main" id="{EC0A0E51-4049-ED4C-3E66-7D4E1587F0CE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709090" y="1833691"/>
            <a:ext cx="45719" cy="1897105"/>
          </a:xfrm>
          <a:prstGeom prst="downArrow">
            <a:avLst/>
          </a:prstGeom>
          <a:solidFill>
            <a:schemeClr val="tx1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   </a:t>
            </a:r>
            <a:endParaRPr lang="es-CL" dirty="0"/>
          </a:p>
        </p:txBody>
      </p:sp>
      <p:sp>
        <p:nvSpPr>
          <p:cNvPr id="75" name="Marcador de texto 34">
            <a:extLst>
              <a:ext uri="{FF2B5EF4-FFF2-40B4-BE49-F238E27FC236}">
                <a16:creationId xmlns="" xmlns:a16="http://schemas.microsoft.com/office/drawing/2014/main" id="{BAAE7064-47DD-08BB-EDD5-6FF9EF5E8C9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4028" y="1692713"/>
            <a:ext cx="11329985" cy="318177"/>
          </a:xfrm>
          <a:prstGeom prst="rightArrow">
            <a:avLst/>
          </a:prstGeom>
          <a:solidFill>
            <a:schemeClr val="accent2"/>
          </a:solidFill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   </a:t>
            </a:r>
            <a:endParaRPr lang="es-CL" dirty="0"/>
          </a:p>
        </p:txBody>
      </p:sp>
      <p:sp>
        <p:nvSpPr>
          <p:cNvPr id="76" name="Marcador de texto 49">
            <a:extLst>
              <a:ext uri="{FF2B5EF4-FFF2-40B4-BE49-F238E27FC236}">
                <a16:creationId xmlns="" xmlns:a16="http://schemas.microsoft.com/office/drawing/2014/main" id="{74784AEC-0CB6-FB04-C4EA-1DA9016ADEC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444555" y="5621047"/>
            <a:ext cx="287997" cy="225206"/>
          </a:xfrm>
          <a:solidFill>
            <a:schemeClr val="tx2"/>
          </a:solidFill>
        </p:spPr>
        <p:txBody>
          <a:bodyPr anchor="ctr">
            <a:noAutofit/>
          </a:bodyPr>
          <a:lstStyle>
            <a:lvl1pPr marL="0" indent="0">
              <a:buNone/>
              <a:defRPr sz="1200" b="1"/>
            </a:lvl1pPr>
          </a:lstStyle>
          <a:p>
            <a:pPr lvl="0"/>
            <a:r>
              <a:rPr lang="es-ES" dirty="0"/>
              <a:t>  </a:t>
            </a:r>
          </a:p>
        </p:txBody>
      </p:sp>
      <p:sp>
        <p:nvSpPr>
          <p:cNvPr id="77" name="Marcador de texto 49">
            <a:extLst>
              <a:ext uri="{FF2B5EF4-FFF2-40B4-BE49-F238E27FC236}">
                <a16:creationId xmlns="" xmlns:a16="http://schemas.microsoft.com/office/drawing/2014/main" id="{2D4F006D-923D-223D-5356-3172AF617FB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444555" y="5940644"/>
            <a:ext cx="287997" cy="225206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>
              <a:buNone/>
              <a:defRPr sz="1200" b="1"/>
            </a:lvl1pPr>
          </a:lstStyle>
          <a:p>
            <a:pPr lvl="0"/>
            <a:r>
              <a:rPr lang="es-ES" dirty="0"/>
              <a:t>  </a:t>
            </a:r>
          </a:p>
        </p:txBody>
      </p:sp>
      <p:sp>
        <p:nvSpPr>
          <p:cNvPr id="78" name="Marcador de texto 49">
            <a:extLst>
              <a:ext uri="{FF2B5EF4-FFF2-40B4-BE49-F238E27FC236}">
                <a16:creationId xmlns="" xmlns:a16="http://schemas.microsoft.com/office/drawing/2014/main" id="{65F8D072-821C-CD48-5168-97D110689B15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93895" y="5621047"/>
            <a:ext cx="1702659" cy="225206"/>
          </a:xfrm>
          <a:noFill/>
        </p:spPr>
        <p:txBody>
          <a:bodyPr anchor="ctr">
            <a:no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79" name="Marcador de texto 49">
            <a:extLst>
              <a:ext uri="{FF2B5EF4-FFF2-40B4-BE49-F238E27FC236}">
                <a16:creationId xmlns="" xmlns:a16="http://schemas.microsoft.com/office/drawing/2014/main" id="{A0D8519B-380E-4C82-BF3E-327326C10252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93895" y="5940644"/>
            <a:ext cx="1702659" cy="225206"/>
          </a:xfrm>
          <a:noFill/>
        </p:spPr>
        <p:txBody>
          <a:bodyPr anchor="ctr">
            <a:no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59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60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44044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=""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6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=""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sp>
        <p:nvSpPr>
          <p:cNvPr id="21" name="Marcador de texto 31">
            <a:extLst>
              <a:ext uri="{FF2B5EF4-FFF2-40B4-BE49-F238E27FC236}">
                <a16:creationId xmlns="" xmlns:a16="http://schemas.microsoft.com/office/drawing/2014/main" id="{F4F6B9BA-24E9-5D5B-C793-058B61EF60C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12204" y="1647712"/>
            <a:ext cx="4446000" cy="4446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sz="5400" b="1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2" name="Marcador de texto 31">
            <a:extLst>
              <a:ext uri="{FF2B5EF4-FFF2-40B4-BE49-F238E27FC236}">
                <a16:creationId xmlns="" xmlns:a16="http://schemas.microsoft.com/office/drawing/2014/main" id="{C408C058-A33C-DE29-A4BA-8F34D6D1D7A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576216" y="1589537"/>
            <a:ext cx="1224000" cy="1224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sz="48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23" name="Marcador de texto 31">
            <a:extLst>
              <a:ext uri="{FF2B5EF4-FFF2-40B4-BE49-F238E27FC236}">
                <a16:creationId xmlns="" xmlns:a16="http://schemas.microsoft.com/office/drawing/2014/main" id="{C4845896-B9E6-B145-475C-119B4CC164D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096000" y="3265693"/>
            <a:ext cx="1224000" cy="1224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sz="48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24" name="Marcador de texto 31">
            <a:extLst>
              <a:ext uri="{FF2B5EF4-FFF2-40B4-BE49-F238E27FC236}">
                <a16:creationId xmlns="" xmlns:a16="http://schemas.microsoft.com/office/drawing/2014/main" id="{AA6D4207-CAB7-80F6-F0E4-4B1B7384F39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76216" y="4941850"/>
            <a:ext cx="1224000" cy="122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sz="48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25" name="Marcador de texto 34">
            <a:extLst>
              <a:ext uri="{FF2B5EF4-FFF2-40B4-BE49-F238E27FC236}">
                <a16:creationId xmlns="" xmlns:a16="http://schemas.microsoft.com/office/drawing/2014/main" id="{B795E8F0-235C-42B7-616B-E560D25BA58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031171" y="1880510"/>
            <a:ext cx="3516805" cy="759282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6" name="Marcador de texto 34">
            <a:extLst>
              <a:ext uri="{FF2B5EF4-FFF2-40B4-BE49-F238E27FC236}">
                <a16:creationId xmlns="" xmlns:a16="http://schemas.microsoft.com/office/drawing/2014/main" id="{7D571604-E0BE-DE6A-7F0A-F7A28C04B79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550955" y="3556666"/>
            <a:ext cx="3516805" cy="759282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7" name="Marcador de texto 34">
            <a:extLst>
              <a:ext uri="{FF2B5EF4-FFF2-40B4-BE49-F238E27FC236}">
                <a16:creationId xmlns="" xmlns:a16="http://schemas.microsoft.com/office/drawing/2014/main" id="{171BCFC5-40FE-A27D-30A3-454159999D0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031171" y="5232822"/>
            <a:ext cx="3516805" cy="759282"/>
          </a:xfrm>
          <a:noFill/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42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43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36099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=""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0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=""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Gráfico 3">
            <a:extLst>
              <a:ext uri="{FF2B5EF4-FFF2-40B4-BE49-F238E27FC236}">
                <a16:creationId xmlns="" xmlns:a16="http://schemas.microsoft.com/office/drawing/2014/main" id="{DE8C5804-0487-8079-B88A-7DFFFFF6F81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953888" y="1818218"/>
            <a:ext cx="8284224" cy="2738796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sp>
        <p:nvSpPr>
          <p:cNvPr id="14" name="Subtítulo 2">
            <a:extLst>
              <a:ext uri="{FF2B5EF4-FFF2-40B4-BE49-F238E27FC236}">
                <a16:creationId xmlns="" xmlns:a16="http://schemas.microsoft.com/office/drawing/2014/main" id="{78C8E64F-AC30-D2D0-7028-0E33E13B507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sp>
        <p:nvSpPr>
          <p:cNvPr id="16" name="Marcador de texto 31">
            <a:extLst>
              <a:ext uri="{FF2B5EF4-FFF2-40B4-BE49-F238E27FC236}">
                <a16:creationId xmlns="" xmlns:a16="http://schemas.microsoft.com/office/drawing/2014/main" id="{0AD32CDB-1227-D0C7-505C-82845CC7898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566944" y="1744031"/>
            <a:ext cx="357188" cy="35718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17" name="Marcador de texto 31">
            <a:extLst>
              <a:ext uri="{FF2B5EF4-FFF2-40B4-BE49-F238E27FC236}">
                <a16:creationId xmlns="" xmlns:a16="http://schemas.microsoft.com/office/drawing/2014/main" id="{CC888898-535B-E024-B74B-14C4D8BA623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202277" y="3889308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18" name="Marcador de texto 31">
            <a:extLst>
              <a:ext uri="{FF2B5EF4-FFF2-40B4-BE49-F238E27FC236}">
                <a16:creationId xmlns="" xmlns:a16="http://schemas.microsoft.com/office/drawing/2014/main" id="{FAE2C23C-8B34-CC07-905A-C99D6A540B8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630212" y="3889308"/>
            <a:ext cx="357188" cy="35718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19" name="Marcador de texto 49">
            <a:extLst>
              <a:ext uri="{FF2B5EF4-FFF2-40B4-BE49-F238E27FC236}">
                <a16:creationId xmlns="" xmlns:a16="http://schemas.microsoft.com/office/drawing/2014/main" id="{3B2F53D3-2892-E394-A035-405645BA448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380871" y="2958406"/>
            <a:ext cx="2052000" cy="472606"/>
          </a:xfrm>
          <a:noFill/>
        </p:spPr>
        <p:txBody>
          <a:bodyPr anchor="ctr">
            <a:no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20" name="Marcador de texto 49">
            <a:extLst>
              <a:ext uri="{FF2B5EF4-FFF2-40B4-BE49-F238E27FC236}">
                <a16:creationId xmlns="" xmlns:a16="http://schemas.microsoft.com/office/drawing/2014/main" id="{7425D436-3CC7-81AD-5C5D-83F222A17DA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070000" y="2958406"/>
            <a:ext cx="2052000" cy="472606"/>
          </a:xfrm>
          <a:noFill/>
        </p:spPr>
        <p:txBody>
          <a:bodyPr anchor="ctr">
            <a:no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28" name="Marcador de texto 49">
            <a:extLst>
              <a:ext uri="{FF2B5EF4-FFF2-40B4-BE49-F238E27FC236}">
                <a16:creationId xmlns="" xmlns:a16="http://schemas.microsoft.com/office/drawing/2014/main" id="{C44875E4-3B21-CD98-9350-148E637CBD13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7729485" y="2958406"/>
            <a:ext cx="2052000" cy="472606"/>
          </a:xfrm>
          <a:noFill/>
        </p:spPr>
        <p:txBody>
          <a:bodyPr anchor="ctr">
            <a:no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30" name="Marcador de texto 49">
            <a:extLst>
              <a:ext uri="{FF2B5EF4-FFF2-40B4-BE49-F238E27FC236}">
                <a16:creationId xmlns="" xmlns:a16="http://schemas.microsoft.com/office/drawing/2014/main" id="{D283CFB5-CC73-6C6A-D2D4-4525C702EE8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2380871" y="4804660"/>
            <a:ext cx="2052000" cy="1359476"/>
          </a:xfrm>
          <a:noFill/>
        </p:spPr>
        <p:txBody>
          <a:bodyPr anchor="t">
            <a:noAutofit/>
          </a:bodyPr>
          <a:lstStyle>
            <a:lvl1pPr marL="0" indent="0" algn="ctr">
              <a:buNone/>
              <a:defRPr sz="14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31" name="Marcador de texto 49">
            <a:extLst>
              <a:ext uri="{FF2B5EF4-FFF2-40B4-BE49-F238E27FC236}">
                <a16:creationId xmlns="" xmlns:a16="http://schemas.microsoft.com/office/drawing/2014/main" id="{51E9C9EA-C5EF-6648-E9F0-18FCFAB171E2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070000" y="4804660"/>
            <a:ext cx="2052000" cy="1359476"/>
          </a:xfrm>
          <a:noFill/>
        </p:spPr>
        <p:txBody>
          <a:bodyPr anchor="t">
            <a:noAutofit/>
          </a:bodyPr>
          <a:lstStyle>
            <a:lvl1pPr marL="0" indent="0" algn="ctr">
              <a:buNone/>
              <a:defRPr sz="14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32" name="Marcador de texto 49">
            <a:extLst>
              <a:ext uri="{FF2B5EF4-FFF2-40B4-BE49-F238E27FC236}">
                <a16:creationId xmlns="" xmlns:a16="http://schemas.microsoft.com/office/drawing/2014/main" id="{EC84790D-781E-2CF5-BDA8-B453AB6773C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729485" y="4804660"/>
            <a:ext cx="2052000" cy="1359476"/>
          </a:xfrm>
          <a:noFill/>
        </p:spPr>
        <p:txBody>
          <a:bodyPr anchor="t">
            <a:noAutofit/>
          </a:bodyPr>
          <a:lstStyle>
            <a:lvl1pPr marL="0" indent="0" algn="ctr">
              <a:buNone/>
              <a:defRPr sz="1400" b="0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51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2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914661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=""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4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=""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sp>
        <p:nvSpPr>
          <p:cNvPr id="17" name="Marcador de texto 49">
            <a:extLst>
              <a:ext uri="{FF2B5EF4-FFF2-40B4-BE49-F238E27FC236}">
                <a16:creationId xmlns="" xmlns:a16="http://schemas.microsoft.com/office/drawing/2014/main" id="{A4E4D986-E94C-7FD4-C5CF-1EBA6739AA0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607005" y="1557338"/>
            <a:ext cx="4113906" cy="901884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 algn="ctr">
              <a:buNone/>
              <a:defRPr sz="2000" b="1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18" name="Marcador de texto 49">
            <a:extLst>
              <a:ext uri="{FF2B5EF4-FFF2-40B4-BE49-F238E27FC236}">
                <a16:creationId xmlns="" xmlns:a16="http://schemas.microsoft.com/office/drawing/2014/main" id="{126D0BE3-DB84-6691-B96D-7C2B3E46B45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915958" y="1557338"/>
            <a:ext cx="5484729" cy="901884"/>
          </a:xfrm>
          <a:noFill/>
        </p:spPr>
        <p:txBody>
          <a:bodyPr lIns="180000" tIns="180000" rIns="180000" bIns="180000" anchor="ctr">
            <a:noAutofit/>
          </a:bodyPr>
          <a:lstStyle>
            <a:lvl1pPr marL="0" indent="0" algn="l">
              <a:buNone/>
              <a:defRPr sz="1400" b="0">
                <a:ln>
                  <a:noFill/>
                </a:ln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19" name="Marcador de posición de imagen 86">
            <a:extLst>
              <a:ext uri="{FF2B5EF4-FFF2-40B4-BE49-F238E27FC236}">
                <a16:creationId xmlns="" xmlns:a16="http://schemas.microsoft.com/office/drawing/2014/main" id="{8A7C46C9-1F5E-C1B4-18F9-45A30F6AE62D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94108" y="1559192"/>
            <a:ext cx="963613" cy="900030"/>
          </a:xfrm>
        </p:spPr>
        <p:txBody>
          <a:bodyPr/>
          <a:lstStyle>
            <a:lvl1pPr>
              <a:defRPr/>
            </a:lvl1pPr>
          </a:lstStyle>
          <a:p>
            <a:r>
              <a:rPr lang="es-ES" dirty="0"/>
              <a:t>ícono</a:t>
            </a:r>
            <a:endParaRPr lang="es-CL" dirty="0"/>
          </a:p>
        </p:txBody>
      </p:sp>
      <p:sp>
        <p:nvSpPr>
          <p:cNvPr id="20" name="Marcador de texto 49">
            <a:extLst>
              <a:ext uri="{FF2B5EF4-FFF2-40B4-BE49-F238E27FC236}">
                <a16:creationId xmlns="" xmlns:a16="http://schemas.microsoft.com/office/drawing/2014/main" id="{7ECABA93-1390-2D67-73EF-70040420B24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607005" y="2789431"/>
            <a:ext cx="4113906" cy="901884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 algn="ctr">
              <a:buNone/>
              <a:defRPr sz="2000" b="1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21" name="Marcador de texto 49">
            <a:extLst>
              <a:ext uri="{FF2B5EF4-FFF2-40B4-BE49-F238E27FC236}">
                <a16:creationId xmlns="" xmlns:a16="http://schemas.microsoft.com/office/drawing/2014/main" id="{B3373153-E85F-B310-EA98-E9D5B32E427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915958" y="2789431"/>
            <a:ext cx="5484729" cy="901884"/>
          </a:xfrm>
          <a:noFill/>
        </p:spPr>
        <p:txBody>
          <a:bodyPr lIns="180000" tIns="180000" rIns="180000" bIns="180000" anchor="ctr">
            <a:noAutofit/>
          </a:bodyPr>
          <a:lstStyle>
            <a:lvl1pPr marL="0" indent="0" algn="l">
              <a:buNone/>
              <a:defRPr sz="1400" b="0">
                <a:ln>
                  <a:noFill/>
                </a:ln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22" name="Marcador de posición de imagen 86">
            <a:extLst>
              <a:ext uri="{FF2B5EF4-FFF2-40B4-BE49-F238E27FC236}">
                <a16:creationId xmlns="" xmlns:a16="http://schemas.microsoft.com/office/drawing/2014/main" id="{6B82B949-AD19-3848-4F9C-A26A59A12640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94108" y="2791285"/>
            <a:ext cx="963613" cy="900030"/>
          </a:xfrm>
        </p:spPr>
        <p:txBody>
          <a:bodyPr/>
          <a:lstStyle>
            <a:lvl1pPr>
              <a:defRPr/>
            </a:lvl1pPr>
          </a:lstStyle>
          <a:p>
            <a:r>
              <a:rPr lang="es-ES" dirty="0"/>
              <a:t>ícono</a:t>
            </a:r>
            <a:endParaRPr lang="es-CL" dirty="0"/>
          </a:p>
        </p:txBody>
      </p:sp>
      <p:sp>
        <p:nvSpPr>
          <p:cNvPr id="23" name="Marcador de texto 49">
            <a:extLst>
              <a:ext uri="{FF2B5EF4-FFF2-40B4-BE49-F238E27FC236}">
                <a16:creationId xmlns="" xmlns:a16="http://schemas.microsoft.com/office/drawing/2014/main" id="{D826A53D-1111-5D35-28EE-7E4C19DA5F0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607005" y="4021524"/>
            <a:ext cx="4113906" cy="901884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 algn="ctr">
              <a:buNone/>
              <a:defRPr sz="2000" b="1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24" name="Marcador de texto 49">
            <a:extLst>
              <a:ext uri="{FF2B5EF4-FFF2-40B4-BE49-F238E27FC236}">
                <a16:creationId xmlns="" xmlns:a16="http://schemas.microsoft.com/office/drawing/2014/main" id="{F43F043C-DB58-8E83-F537-FC0E09226BD2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915958" y="4021524"/>
            <a:ext cx="5484729" cy="901884"/>
          </a:xfrm>
          <a:noFill/>
        </p:spPr>
        <p:txBody>
          <a:bodyPr lIns="180000" tIns="180000" rIns="180000" bIns="180000" anchor="ctr">
            <a:noAutofit/>
          </a:bodyPr>
          <a:lstStyle>
            <a:lvl1pPr marL="0" indent="0" algn="l">
              <a:buNone/>
              <a:defRPr sz="1400" b="0">
                <a:ln>
                  <a:noFill/>
                </a:ln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25" name="Marcador de posición de imagen 86">
            <a:extLst>
              <a:ext uri="{FF2B5EF4-FFF2-40B4-BE49-F238E27FC236}">
                <a16:creationId xmlns="" xmlns:a16="http://schemas.microsoft.com/office/drawing/2014/main" id="{715A5DD4-7AA5-1E4B-53C9-DF5726861BFA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94108" y="4023378"/>
            <a:ext cx="963613" cy="900030"/>
          </a:xfrm>
        </p:spPr>
        <p:txBody>
          <a:bodyPr/>
          <a:lstStyle>
            <a:lvl1pPr>
              <a:defRPr/>
            </a:lvl1pPr>
          </a:lstStyle>
          <a:p>
            <a:r>
              <a:rPr lang="es-ES" dirty="0"/>
              <a:t>ícono</a:t>
            </a:r>
            <a:endParaRPr lang="es-CL" dirty="0"/>
          </a:p>
        </p:txBody>
      </p:sp>
      <p:sp>
        <p:nvSpPr>
          <p:cNvPr id="26" name="Marcador de texto 49">
            <a:extLst>
              <a:ext uri="{FF2B5EF4-FFF2-40B4-BE49-F238E27FC236}">
                <a16:creationId xmlns="" xmlns:a16="http://schemas.microsoft.com/office/drawing/2014/main" id="{EF8FC757-8585-B948-A3AE-8A8597837748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607005" y="5253617"/>
            <a:ext cx="4113906" cy="901884"/>
          </a:xfr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 marL="0" indent="0" algn="ctr">
              <a:buNone/>
              <a:defRPr sz="2000" b="1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27" name="Marcador de texto 49">
            <a:extLst>
              <a:ext uri="{FF2B5EF4-FFF2-40B4-BE49-F238E27FC236}">
                <a16:creationId xmlns="" xmlns:a16="http://schemas.microsoft.com/office/drawing/2014/main" id="{5C2B6A10-590C-BF6B-229A-D906DCDB8E45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915958" y="5253617"/>
            <a:ext cx="5484729" cy="901884"/>
          </a:xfrm>
          <a:noFill/>
        </p:spPr>
        <p:txBody>
          <a:bodyPr lIns="180000" tIns="180000" rIns="180000" bIns="180000" anchor="ctr">
            <a:noAutofit/>
          </a:bodyPr>
          <a:lstStyle>
            <a:lvl1pPr marL="0" indent="0" algn="l">
              <a:buNone/>
              <a:defRPr sz="1400" b="0">
                <a:ln>
                  <a:noFill/>
                </a:ln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28" name="Marcador de posición de imagen 86">
            <a:extLst>
              <a:ext uri="{FF2B5EF4-FFF2-40B4-BE49-F238E27FC236}">
                <a16:creationId xmlns="" xmlns:a16="http://schemas.microsoft.com/office/drawing/2014/main" id="{98505E1D-3652-8BCC-556E-7BE76B1807ED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494108" y="5255471"/>
            <a:ext cx="963613" cy="900030"/>
          </a:xfrm>
        </p:spPr>
        <p:txBody>
          <a:bodyPr/>
          <a:lstStyle>
            <a:lvl1pPr>
              <a:defRPr/>
            </a:lvl1pPr>
          </a:lstStyle>
          <a:p>
            <a:r>
              <a:rPr lang="es-ES" dirty="0"/>
              <a:t>ícono</a:t>
            </a:r>
            <a:endParaRPr lang="es-CL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60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61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124661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=""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8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=""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sp>
        <p:nvSpPr>
          <p:cNvPr id="16" name="Marcador de texto 34">
            <a:extLst>
              <a:ext uri="{FF2B5EF4-FFF2-40B4-BE49-F238E27FC236}">
                <a16:creationId xmlns="" xmlns:a16="http://schemas.microsoft.com/office/drawing/2014/main" id="{D3872FAB-EA4D-B6F0-926C-C0C8E2973C6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7578" y="1336544"/>
            <a:ext cx="5538345" cy="792000"/>
          </a:xfrm>
          <a:solidFill>
            <a:schemeClr val="accent1"/>
          </a:solidFill>
        </p:spPr>
        <p:txBody>
          <a:bodyPr lIns="180000" tIns="180000" rIns="180000" bIns="180000" anchor="t">
            <a:noAutofit/>
          </a:bodyPr>
          <a:lstStyle>
            <a:lvl1pPr marL="0" indent="0">
              <a:buNone/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17" name="Marcador de texto 34">
            <a:extLst>
              <a:ext uri="{FF2B5EF4-FFF2-40B4-BE49-F238E27FC236}">
                <a16:creationId xmlns="" xmlns:a16="http://schemas.microsoft.com/office/drawing/2014/main" id="{BB1C435A-2AF8-6141-9D7E-7BED58F2D7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7578" y="2257177"/>
            <a:ext cx="5538345" cy="2163815"/>
          </a:xfrm>
          <a:solidFill>
            <a:schemeClr val="bg1"/>
          </a:solidFill>
        </p:spPr>
        <p:txBody>
          <a:bodyPr lIns="180000" tIns="180000" rIns="180000" bIns="180000" anchor="t"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18" name="Marcador de texto 34">
            <a:extLst>
              <a:ext uri="{FF2B5EF4-FFF2-40B4-BE49-F238E27FC236}">
                <a16:creationId xmlns="" xmlns:a16="http://schemas.microsoft.com/office/drawing/2014/main" id="{DF7DAD86-D0CB-1A4D-2F4F-AA18F26A13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6001" y="2257177"/>
            <a:ext cx="5648422" cy="2163815"/>
          </a:xfrm>
          <a:solidFill>
            <a:schemeClr val="bg1"/>
          </a:solidFill>
        </p:spPr>
        <p:txBody>
          <a:bodyPr lIns="180000" tIns="180000" rIns="180000" bIns="180000" anchor="t"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19" name="Marcador de texto 34">
            <a:extLst>
              <a:ext uri="{FF2B5EF4-FFF2-40B4-BE49-F238E27FC236}">
                <a16:creationId xmlns="" xmlns:a16="http://schemas.microsoft.com/office/drawing/2014/main" id="{FA2E44B1-578A-AE99-9FC5-8284E259217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1" y="4549625"/>
            <a:ext cx="5648422" cy="1616225"/>
          </a:xfrm>
          <a:solidFill>
            <a:schemeClr val="bg1"/>
          </a:solidFill>
        </p:spPr>
        <p:txBody>
          <a:bodyPr lIns="180000" tIns="180000" rIns="180000" bIns="180000" anchor="t"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0" name="Marcador de texto 34">
            <a:extLst>
              <a:ext uri="{FF2B5EF4-FFF2-40B4-BE49-F238E27FC236}">
                <a16:creationId xmlns="" xmlns:a16="http://schemas.microsoft.com/office/drawing/2014/main" id="{C71E9E98-22B1-EFA1-56BF-0F9E5F33D6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356207" y="4549625"/>
            <a:ext cx="3629716" cy="1616225"/>
          </a:xfrm>
          <a:solidFill>
            <a:schemeClr val="bg1"/>
          </a:solidFill>
        </p:spPr>
        <p:txBody>
          <a:bodyPr lIns="180000" tIns="180000" rIns="180000" bIns="180000" anchor="t"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1" name="Marcador de texto 34">
            <a:extLst>
              <a:ext uri="{FF2B5EF4-FFF2-40B4-BE49-F238E27FC236}">
                <a16:creationId xmlns="" xmlns:a16="http://schemas.microsoft.com/office/drawing/2014/main" id="{78F6F172-C151-F378-6D8A-CA7597979C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5488" y="4549625"/>
            <a:ext cx="1790641" cy="1616225"/>
          </a:xfrm>
          <a:solidFill>
            <a:schemeClr val="bg1"/>
          </a:solidFill>
        </p:spPr>
        <p:txBody>
          <a:bodyPr lIns="180000" tIns="180000" rIns="180000" bIns="180000" anchor="t"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4" name="Marcador de texto 34">
            <a:extLst>
              <a:ext uri="{FF2B5EF4-FFF2-40B4-BE49-F238E27FC236}">
                <a16:creationId xmlns="" xmlns:a16="http://schemas.microsoft.com/office/drawing/2014/main" id="{E57F485E-94AC-32C6-58B0-B508FA1FDE7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6000" y="1336544"/>
            <a:ext cx="2773399" cy="798513"/>
          </a:xfrm>
          <a:solidFill>
            <a:schemeClr val="bg1"/>
          </a:solidFill>
        </p:spPr>
        <p:txBody>
          <a:bodyPr lIns="180000" tIns="180000" rIns="180000" bIns="180000" anchor="t"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25" name="Marcador de texto 34">
            <a:extLst>
              <a:ext uri="{FF2B5EF4-FFF2-40B4-BE49-F238E27FC236}">
                <a16:creationId xmlns="" xmlns:a16="http://schemas.microsoft.com/office/drawing/2014/main" id="{BF59992B-B8E6-235B-79BC-3A77F89E11A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69339" y="1336544"/>
            <a:ext cx="2773400" cy="798513"/>
          </a:xfrm>
          <a:solidFill>
            <a:schemeClr val="bg1"/>
          </a:solidFill>
        </p:spPr>
        <p:txBody>
          <a:bodyPr lIns="180000" tIns="180000" rIns="180000" bIns="180000" anchor="t">
            <a:noAutofit/>
          </a:bodyPr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  <a:endParaRPr lang="es-CL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688822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=""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2" name="Diapositiva de think-cell" r:id="rId20" imgW="395" imgH="396" progId="TCLayout.ActiveDocument.1">
                  <p:embed/>
                </p:oleObj>
              </mc:Choice>
              <mc:Fallback>
                <p:oleObj name="Diapositiva de think-cell" r:id="rId20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=""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57" name="Rectángulo 56">
            <a:extLst>
              <a:ext uri="{FF2B5EF4-FFF2-40B4-BE49-F238E27FC236}">
                <a16:creationId xmlns="" xmlns:a16="http://schemas.microsoft.com/office/drawing/2014/main" id="{AFA28392-D42B-F722-9584-719962085B5D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443948" y="3855513"/>
            <a:ext cx="11340064" cy="52705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90000" tIns="90000" rIns="90000" bIns="9000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13C045"/>
              </a:buClr>
              <a:buFont typeface="Wingdings" panose="05000000000000000000" pitchFamily="2" charset="2"/>
              <a:buNone/>
            </a:pPr>
            <a:r>
              <a:rPr lang="es-CL" sz="1400" b="1" dirty="0">
                <a:sym typeface="Helvetica Neue Medium"/>
              </a:rPr>
              <a:t>Texto</a:t>
            </a:r>
          </a:p>
        </p:txBody>
      </p:sp>
      <p:sp>
        <p:nvSpPr>
          <p:cNvPr id="58" name="Rectángulo 57">
            <a:extLst>
              <a:ext uri="{FF2B5EF4-FFF2-40B4-BE49-F238E27FC236}">
                <a16:creationId xmlns="" xmlns:a16="http://schemas.microsoft.com/office/drawing/2014/main" id="{AFA28392-D42B-F722-9584-719962085B5D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443948" y="1557338"/>
            <a:ext cx="11341479" cy="52705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90000" tIns="90000" rIns="90000" bIns="9000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rgbClr val="13C045"/>
              </a:buClr>
              <a:buFont typeface="Wingdings" panose="05000000000000000000" pitchFamily="2" charset="2"/>
              <a:buNone/>
            </a:pPr>
            <a:r>
              <a:rPr lang="es-CL" sz="1400" b="1" dirty="0">
                <a:sym typeface="Helvetica Neue Medium"/>
              </a:rPr>
              <a:t>Texto</a:t>
            </a:r>
          </a:p>
        </p:txBody>
      </p:sp>
      <p:cxnSp>
        <p:nvCxnSpPr>
          <p:cNvPr id="59" name="Conector recto 58">
            <a:extLst>
              <a:ext uri="{FF2B5EF4-FFF2-40B4-BE49-F238E27FC236}">
                <a16:creationId xmlns="" xmlns:a16="http://schemas.microsoft.com/office/drawing/2014/main" id="{18795959-A4E8-8B11-BE59-2D0E42C4FD83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 bwMode="auto">
          <a:xfrm>
            <a:off x="6578531" y="1345098"/>
            <a:ext cx="0" cy="48240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Conector recto 60">
            <a:extLst>
              <a:ext uri="{FF2B5EF4-FFF2-40B4-BE49-F238E27FC236}">
                <a16:creationId xmlns="" xmlns:a16="http://schemas.microsoft.com/office/drawing/2014/main" id="{8EED8BA4-EF73-3E41-3496-042093C3539F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 bwMode="auto">
          <a:xfrm>
            <a:off x="4533798" y="1342551"/>
            <a:ext cx="0" cy="48240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Conector recto 61">
            <a:extLst>
              <a:ext uri="{FF2B5EF4-FFF2-40B4-BE49-F238E27FC236}">
                <a16:creationId xmlns="" xmlns:a16="http://schemas.microsoft.com/office/drawing/2014/main" id="{6B2B4871-15BA-068E-D6C3-DC43A100EA9E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 bwMode="auto">
          <a:xfrm>
            <a:off x="8623264" y="1345098"/>
            <a:ext cx="0" cy="48240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Conector recto 63">
            <a:extLst>
              <a:ext uri="{FF2B5EF4-FFF2-40B4-BE49-F238E27FC236}">
                <a16:creationId xmlns="" xmlns:a16="http://schemas.microsoft.com/office/drawing/2014/main" id="{742D62C7-056E-A1FB-FAFD-D9E8B2D181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 bwMode="auto">
          <a:xfrm>
            <a:off x="444331" y="1557518"/>
            <a:ext cx="0" cy="46080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Conector recto 64">
            <a:extLst>
              <a:ext uri="{FF2B5EF4-FFF2-40B4-BE49-F238E27FC236}">
                <a16:creationId xmlns="" xmlns:a16="http://schemas.microsoft.com/office/drawing/2014/main" id="{828D9CCD-E121-A024-BAD5-6247DF8ED42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 bwMode="auto">
          <a:xfrm>
            <a:off x="2489064" y="1452418"/>
            <a:ext cx="1" cy="4714133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Conector recto 67">
            <a:extLst>
              <a:ext uri="{FF2B5EF4-FFF2-40B4-BE49-F238E27FC236}">
                <a16:creationId xmlns="" xmlns:a16="http://schemas.microsoft.com/office/drawing/2014/main" id="{962C4893-076D-60A5-6E77-3630B92E13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 bwMode="auto">
          <a:xfrm>
            <a:off x="10667998" y="1345993"/>
            <a:ext cx="2" cy="48168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Conector recto 70">
            <a:extLst>
              <a:ext uri="{FF2B5EF4-FFF2-40B4-BE49-F238E27FC236}">
                <a16:creationId xmlns="" xmlns:a16="http://schemas.microsoft.com/office/drawing/2014/main" id="{A1233ACE-71E0-7B32-C169-3789258DF077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 bwMode="auto">
          <a:xfrm flipH="1">
            <a:off x="11784013" y="1557338"/>
            <a:ext cx="1413" cy="4608512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Conector recto 72">
            <a:extLst>
              <a:ext uri="{FF2B5EF4-FFF2-40B4-BE49-F238E27FC236}">
                <a16:creationId xmlns="" xmlns:a16="http://schemas.microsoft.com/office/drawing/2014/main" id="{13B33B83-0247-4E39-AA84-898C0D25F801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 bwMode="auto">
          <a:xfrm>
            <a:off x="444715" y="3855513"/>
            <a:ext cx="112320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Conector recto 73">
            <a:extLst>
              <a:ext uri="{FF2B5EF4-FFF2-40B4-BE49-F238E27FC236}">
                <a16:creationId xmlns="" xmlns:a16="http://schemas.microsoft.com/office/drawing/2014/main" id="{9E752F60-3DAA-1726-F721-345BA060B7A7}"/>
              </a:ext>
            </a:extLst>
          </p:cNvPr>
          <p:cNvCxnSpPr/>
          <p:nvPr userDrawn="1">
            <p:custDataLst>
              <p:tags r:id="rId13"/>
            </p:custDataLst>
          </p:nvPr>
        </p:nvCxnSpPr>
        <p:spPr bwMode="auto">
          <a:xfrm>
            <a:off x="436545" y="6165850"/>
            <a:ext cx="1134746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Conector recto 74">
            <a:extLst>
              <a:ext uri="{FF2B5EF4-FFF2-40B4-BE49-F238E27FC236}">
                <a16:creationId xmlns="" xmlns:a16="http://schemas.microsoft.com/office/drawing/2014/main" id="{9097AA11-136E-FE5C-B2D9-9D24153B1592}"/>
              </a:ext>
            </a:extLst>
          </p:cNvPr>
          <p:cNvCxnSpPr/>
          <p:nvPr userDrawn="1">
            <p:custDataLst>
              <p:tags r:id="rId14"/>
            </p:custDataLst>
          </p:nvPr>
        </p:nvCxnSpPr>
        <p:spPr bwMode="auto">
          <a:xfrm>
            <a:off x="444331" y="1557338"/>
            <a:ext cx="1134746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6" name="Marcador de texto 49">
            <a:extLst>
              <a:ext uri="{FF2B5EF4-FFF2-40B4-BE49-F238E27FC236}">
                <a16:creationId xmlns="" xmlns:a16="http://schemas.microsoft.com/office/drawing/2014/main" id="{6C44EA9F-4BE5-4D63-ADEE-6AE9A99BC8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667996" y="1324044"/>
            <a:ext cx="1111061" cy="233294"/>
          </a:xfrm>
          <a:noFill/>
        </p:spPr>
        <p:txBody>
          <a:bodyPr anchor="ctr" anchorCtr="0">
            <a:noAutofit/>
          </a:bodyPr>
          <a:lstStyle>
            <a:lvl1pPr marL="0" indent="0"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77" name="Marcador de texto 6">
            <a:extLst>
              <a:ext uri="{FF2B5EF4-FFF2-40B4-BE49-F238E27FC236}">
                <a16:creationId xmlns="" xmlns:a16="http://schemas.microsoft.com/office/drawing/2014/main" id="{27B0F344-1CCC-237A-6BD4-0F6C2AB1CD4D}"/>
              </a:ext>
            </a:extLst>
          </p:cNvPr>
          <p:cNvSpPr>
            <a:spLocks noGrp="1"/>
          </p:cNvSpPr>
          <p:nvPr userDrawn="1">
            <p:custDataLst>
              <p:tags r:id="rId15"/>
            </p:custDataLst>
          </p:nvPr>
        </p:nvSpPr>
        <p:spPr bwMode="auto">
          <a:xfrm>
            <a:off x="2489064" y="1324044"/>
            <a:ext cx="2043112" cy="233294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90000" tIns="20638" rIns="0" bIns="2063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Clr>
                <a:srgbClr val="13C045"/>
              </a:buClr>
              <a:buFont typeface="Wingdings" panose="05000000000000000000" pitchFamily="2" charset="2"/>
              <a:buNone/>
            </a:pPr>
            <a:r>
              <a:rPr lang="es-CL" sz="1200" b="1" dirty="0">
                <a:solidFill>
                  <a:prstClr val="white"/>
                </a:solidFill>
                <a:sym typeface="+mn-lt"/>
              </a:rPr>
              <a:t>Texto</a:t>
            </a:r>
          </a:p>
        </p:txBody>
      </p:sp>
      <p:sp>
        <p:nvSpPr>
          <p:cNvPr id="78" name="Marcador de texto 6">
            <a:extLst>
              <a:ext uri="{FF2B5EF4-FFF2-40B4-BE49-F238E27FC236}">
                <a16:creationId xmlns="" xmlns:a16="http://schemas.microsoft.com/office/drawing/2014/main" id="{27B0F344-1CCC-237A-6BD4-0F6C2AB1CD4D}"/>
              </a:ext>
            </a:extLst>
          </p:cNvPr>
          <p:cNvSpPr>
            <a:spLocks noGrp="1"/>
          </p:cNvSpPr>
          <p:nvPr userDrawn="1">
            <p:custDataLst>
              <p:tags r:id="rId16"/>
            </p:custDataLst>
          </p:nvPr>
        </p:nvSpPr>
        <p:spPr bwMode="auto">
          <a:xfrm>
            <a:off x="4534339" y="1324044"/>
            <a:ext cx="2043112" cy="233294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90000" tIns="20638" rIns="0" bIns="2063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Clr>
                <a:srgbClr val="13C045"/>
              </a:buClr>
              <a:buFont typeface="Wingdings" panose="05000000000000000000" pitchFamily="2" charset="2"/>
              <a:buNone/>
            </a:pPr>
            <a:r>
              <a:rPr lang="es-CL" sz="1200" b="1" dirty="0">
                <a:solidFill>
                  <a:prstClr val="white"/>
                </a:solidFill>
                <a:sym typeface="+mn-lt"/>
              </a:rPr>
              <a:t>Texto</a:t>
            </a:r>
          </a:p>
        </p:txBody>
      </p:sp>
      <p:sp>
        <p:nvSpPr>
          <p:cNvPr id="79" name="Marcador de texto 6">
            <a:extLst>
              <a:ext uri="{FF2B5EF4-FFF2-40B4-BE49-F238E27FC236}">
                <a16:creationId xmlns="" xmlns:a16="http://schemas.microsoft.com/office/drawing/2014/main" id="{27B0F344-1CCC-237A-6BD4-0F6C2AB1CD4D}"/>
              </a:ext>
            </a:extLst>
          </p:cNvPr>
          <p:cNvSpPr>
            <a:spLocks noGrp="1"/>
          </p:cNvSpPr>
          <p:nvPr userDrawn="1">
            <p:custDataLst>
              <p:tags r:id="rId17"/>
            </p:custDataLst>
          </p:nvPr>
        </p:nvSpPr>
        <p:spPr bwMode="auto">
          <a:xfrm>
            <a:off x="6579614" y="1324044"/>
            <a:ext cx="2043112" cy="233294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90000" tIns="20638" rIns="0" bIns="2063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Clr>
                <a:srgbClr val="13C045"/>
              </a:buClr>
              <a:buFont typeface="Wingdings" panose="05000000000000000000" pitchFamily="2" charset="2"/>
              <a:buNone/>
            </a:pPr>
            <a:r>
              <a:rPr lang="es-CL" sz="1200" b="1" dirty="0">
                <a:solidFill>
                  <a:prstClr val="white"/>
                </a:solidFill>
                <a:sym typeface="+mn-lt"/>
              </a:rPr>
              <a:t>Texto</a:t>
            </a:r>
          </a:p>
        </p:txBody>
      </p:sp>
      <p:sp>
        <p:nvSpPr>
          <p:cNvPr id="80" name="Marcador de texto 6">
            <a:extLst>
              <a:ext uri="{FF2B5EF4-FFF2-40B4-BE49-F238E27FC236}">
                <a16:creationId xmlns="" xmlns:a16="http://schemas.microsoft.com/office/drawing/2014/main" id="{27B0F344-1CCC-237A-6BD4-0F6C2AB1CD4D}"/>
              </a:ext>
            </a:extLst>
          </p:cNvPr>
          <p:cNvSpPr>
            <a:spLocks noGrp="1"/>
          </p:cNvSpPr>
          <p:nvPr userDrawn="1">
            <p:custDataLst>
              <p:tags r:id="rId18"/>
            </p:custDataLst>
          </p:nvPr>
        </p:nvSpPr>
        <p:spPr bwMode="auto">
          <a:xfrm>
            <a:off x="8624886" y="1324044"/>
            <a:ext cx="2043112" cy="233294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90000" tIns="20638" rIns="0" bIns="2063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Clr>
                <a:srgbClr val="13C045"/>
              </a:buClr>
              <a:buFont typeface="Wingdings" panose="05000000000000000000" pitchFamily="2" charset="2"/>
              <a:buNone/>
            </a:pPr>
            <a:r>
              <a:rPr lang="es-CL" sz="1200" b="1" dirty="0">
                <a:solidFill>
                  <a:prstClr val="white"/>
                </a:solidFill>
                <a:sym typeface="+mn-lt"/>
              </a:rPr>
              <a:t>Texto</a:t>
            </a:r>
          </a:p>
        </p:txBody>
      </p:sp>
    </p:spTree>
    <p:extLst>
      <p:ext uri="{BB962C8B-B14F-4D97-AF65-F5344CB8AC3E}">
        <p14:creationId xmlns:p14="http://schemas.microsoft.com/office/powerpoint/2010/main" val="401530113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0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19502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0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75850" y="4302039"/>
            <a:ext cx="537080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15</a:t>
            </a:r>
            <a:endParaRPr lang="es-CL" dirty="0"/>
          </a:p>
        </p:txBody>
      </p:sp>
      <p:sp>
        <p:nvSpPr>
          <p:cNvPr id="10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84699" y="2762487"/>
            <a:ext cx="5361957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Arial </a:t>
            </a:r>
            <a:r>
              <a:rPr lang="es-ES" dirty="0" err="1"/>
              <a:t>bold</a:t>
            </a:r>
            <a:r>
              <a:rPr lang="es-ES" dirty="0"/>
              <a:t>- 30 puntos</a:t>
            </a:r>
            <a:endParaRPr lang="es-CL" dirty="0"/>
          </a:p>
        </p:txBody>
      </p:sp>
      <p:sp>
        <p:nvSpPr>
          <p:cNvPr id="11" name="Marcador de texto 7">
            <a:extLst>
              <a:ext uri="{FF2B5EF4-FFF2-40B4-BE49-F238E27FC236}">
                <a16:creationId xmlns="" xmlns:a16="http://schemas.microsoft.com/office/drawing/2014/main" id="{7158EF60-E659-4F3D-DDFF-B4430EFEAE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84699" y="2291214"/>
            <a:ext cx="874223" cy="25190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  <a:endParaRPr lang="es-CL" dirty="0"/>
          </a:p>
        </p:txBody>
      </p:sp>
      <p:pic>
        <p:nvPicPr>
          <p:cNvPr id="8" name="Gráfico 3">
            <a:extLst>
              <a:ext uri="{FF2B5EF4-FFF2-40B4-BE49-F238E27FC236}">
                <a16:creationId xmlns="" xmlns:a16="http://schemas.microsoft.com/office/drawing/2014/main" id="{A9074783-5EE3-1AC8-78B3-3BBE53D6D9B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7321" y="386737"/>
            <a:ext cx="1922822" cy="795821"/>
          </a:xfrm>
          <a:prstGeom prst="rect">
            <a:avLst/>
          </a:prstGeom>
        </p:spPr>
      </p:pic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7321" y="1881407"/>
            <a:ext cx="9656127" cy="30951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6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</a:t>
            </a:r>
          </a:p>
          <a:p>
            <a:pPr lvl="0"/>
            <a:r>
              <a:rPr lang="es-ES" dirty="0"/>
              <a:t>Arial Bold - 6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5447672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19502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4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áfico 3">
            <a:extLst>
              <a:ext uri="{FF2B5EF4-FFF2-40B4-BE49-F238E27FC236}">
                <a16:creationId xmlns="" xmlns:a16="http://schemas.microsoft.com/office/drawing/2014/main" id="{A9074783-5EE3-1AC8-78B3-3BBE53D6D9B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7321" y="386737"/>
            <a:ext cx="1922822" cy="795821"/>
          </a:xfrm>
          <a:prstGeom prst="rect">
            <a:avLst/>
          </a:prstGeom>
        </p:spPr>
      </p:pic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7321" y="1881407"/>
            <a:ext cx="9656127" cy="30951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6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</a:t>
            </a:r>
          </a:p>
          <a:p>
            <a:pPr lvl="0"/>
            <a:r>
              <a:rPr lang="es-ES" dirty="0"/>
              <a:t>Arial Bold - 60 punto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8509140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arcador de posición de imagen 3">
            <a:extLst>
              <a:ext uri="{FF2B5EF4-FFF2-40B4-BE49-F238E27FC236}">
                <a16:creationId xmlns="" xmlns:a16="http://schemas.microsoft.com/office/drawing/2014/main" id="{602734B2-65B4-284E-AF5A-74CF40B7669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3174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es-CL" dirty="0"/>
              <a:t>Clic al centro para incorporar una imagen</a:t>
            </a:r>
          </a:p>
        </p:txBody>
      </p:sp>
      <p:sp>
        <p:nvSpPr>
          <p:cNvPr id="5" name="Marcador de texto 7">
            <a:extLst>
              <a:ext uri="{FF2B5EF4-FFF2-40B4-BE49-F238E27FC236}">
                <a16:creationId xmlns="" xmlns:a16="http://schemas.microsoft.com/office/drawing/2014/main" id="{73577CB4-5A03-9E4B-AB3D-120C9169EF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263" y="5177790"/>
            <a:ext cx="4260960" cy="1205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r>
              <a:rPr lang="es-ES_tradnl" dirty="0"/>
              <a:t>Título presentación Máximo 3 líneas   </a:t>
            </a:r>
            <a:br>
              <a:rPr lang="es-ES_tradnl" dirty="0"/>
            </a:br>
            <a:r>
              <a:rPr lang="es-ES_tradnl" dirty="0"/>
              <a:t>Arial Bold - 30 puntos 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="" xmlns:a16="http://schemas.microsoft.com/office/drawing/2014/main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59444" y="367977"/>
            <a:ext cx="1224570" cy="50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485359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verde 5 pun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215026" cy="162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Diapositiva de think-cell" r:id="rId4" imgW="0" imgH="0" progId="TCLayout.ActiveDocument.1">
                  <p:embed/>
                </p:oleObj>
              </mc:Choice>
              <mc:Fallback>
                <p:oleObj name="Diapositiva de think-cell" r:id="rId4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026" cy="1623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Conector recto 18">
            <a:extLst>
              <a:ext uri="{FF2B5EF4-FFF2-40B4-BE49-F238E27FC236}">
                <a16:creationId xmlns="" xmlns:a16="http://schemas.microsoft.com/office/drawing/2014/main" id="{85F9AF68-8345-6B33-319E-57FB32203EE1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bg1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35" name="Picture 2">
            <a:extLst>
              <a:ext uri="{FF2B5EF4-FFF2-40B4-BE49-F238E27FC236}">
                <a16:creationId xmlns="" xmlns:a16="http://schemas.microsoft.com/office/drawing/2014/main" id="{3FD28DAD-337D-CBAA-D8CD-D04E50C9B6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22204" t="33265"/>
          <a:stretch/>
        </p:blipFill>
        <p:spPr>
          <a:xfrm>
            <a:off x="0" y="-1"/>
            <a:ext cx="5439188" cy="4576669"/>
          </a:xfrm>
          <a:prstGeom prst="rect">
            <a:avLst/>
          </a:prstGeom>
        </p:spPr>
      </p:pic>
      <p:sp>
        <p:nvSpPr>
          <p:cNvPr id="36" name="Título 1">
            <a:extLst>
              <a:ext uri="{FF2B5EF4-FFF2-40B4-BE49-F238E27FC236}">
                <a16:creationId xmlns="" xmlns:a16="http://schemas.microsoft.com/office/drawing/2014/main" id="{480F94C3-E251-0A4D-B7E8-0D448B426F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4376" y="592636"/>
            <a:ext cx="3138296" cy="1162442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6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Texto</a:t>
            </a:r>
            <a:endParaRPr lang="es-CL" dirty="0"/>
          </a:p>
        </p:txBody>
      </p:sp>
      <p:sp>
        <p:nvSpPr>
          <p:cNvPr id="37" name="Marcador de texto 4">
            <a:extLst>
              <a:ext uri="{FF2B5EF4-FFF2-40B4-BE49-F238E27FC236}">
                <a16:creationId xmlns="" xmlns:a16="http://schemas.microsoft.com/office/drawing/2014/main" id="{10E1D212-0562-6DF1-E1DA-9955FC695D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55556" y="592635"/>
            <a:ext cx="1199956" cy="8792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8" name="Marcador de texto 4">
            <a:extLst>
              <a:ext uri="{FF2B5EF4-FFF2-40B4-BE49-F238E27FC236}">
                <a16:creationId xmlns="" xmlns:a16="http://schemas.microsoft.com/office/drawing/2014/main" id="{76E29E71-6799-27B0-061A-872A06088065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555556" y="1755077"/>
            <a:ext cx="1199956" cy="8792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39" name="Marcador de texto 4">
            <a:extLst>
              <a:ext uri="{FF2B5EF4-FFF2-40B4-BE49-F238E27FC236}">
                <a16:creationId xmlns="" xmlns:a16="http://schemas.microsoft.com/office/drawing/2014/main" id="{AE6DBC10-9368-CE05-8338-726B25AE038C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555556" y="2972075"/>
            <a:ext cx="1199956" cy="8792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40" name="Marcador de texto 4">
            <a:extLst>
              <a:ext uri="{FF2B5EF4-FFF2-40B4-BE49-F238E27FC236}">
                <a16:creationId xmlns="" xmlns:a16="http://schemas.microsoft.com/office/drawing/2014/main" id="{B2FDEEFD-7DEE-2BAD-A2B9-91A02403803B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555556" y="4174436"/>
            <a:ext cx="1199956" cy="8792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41" name="Marcador de texto 4">
            <a:extLst>
              <a:ext uri="{FF2B5EF4-FFF2-40B4-BE49-F238E27FC236}">
                <a16:creationId xmlns="" xmlns:a16="http://schemas.microsoft.com/office/drawing/2014/main" id="{BEE802A2-00A8-D033-BA50-92F4DA811BC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555556" y="5418742"/>
            <a:ext cx="1199956" cy="87923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7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Nº</a:t>
            </a:r>
            <a:endParaRPr lang="es-CL" dirty="0"/>
          </a:p>
        </p:txBody>
      </p:sp>
      <p:sp>
        <p:nvSpPr>
          <p:cNvPr id="42" name="Marcador de texto 7">
            <a:extLst>
              <a:ext uri="{FF2B5EF4-FFF2-40B4-BE49-F238E27FC236}">
                <a16:creationId xmlns="" xmlns:a16="http://schemas.microsoft.com/office/drawing/2014/main" id="{E2B3526A-E352-6B42-9A86-8AA9AFCEC9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89780" y="3401189"/>
            <a:ext cx="4545093" cy="4469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  <p:sp>
        <p:nvSpPr>
          <p:cNvPr id="43" name="Marcador de texto 7">
            <a:extLst>
              <a:ext uri="{FF2B5EF4-FFF2-40B4-BE49-F238E27FC236}">
                <a16:creationId xmlns="" xmlns:a16="http://schemas.microsoft.com/office/drawing/2014/main" id="{1B703A3D-4A7A-A34D-8B38-7D59E6C8C6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89780" y="4611153"/>
            <a:ext cx="4545093" cy="4469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  <p:sp>
        <p:nvSpPr>
          <p:cNvPr id="44" name="Marcador de texto 7">
            <a:extLst>
              <a:ext uri="{FF2B5EF4-FFF2-40B4-BE49-F238E27FC236}">
                <a16:creationId xmlns="" xmlns:a16="http://schemas.microsoft.com/office/drawing/2014/main" id="{8D533A59-3325-A644-A68A-14B901EDBB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89780" y="5844932"/>
            <a:ext cx="4545093" cy="4548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  <p:sp>
        <p:nvSpPr>
          <p:cNvPr id="45" name="Marcador de texto 7">
            <a:extLst>
              <a:ext uri="{FF2B5EF4-FFF2-40B4-BE49-F238E27FC236}">
                <a16:creationId xmlns="" xmlns:a16="http://schemas.microsoft.com/office/drawing/2014/main" id="{9A1A12C9-C268-CA49-8691-5A3A9581BC79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89780" y="2191654"/>
            <a:ext cx="4545093" cy="4469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  <p:sp>
        <p:nvSpPr>
          <p:cNvPr id="46" name="Marcador de texto 7">
            <a:extLst>
              <a:ext uri="{FF2B5EF4-FFF2-40B4-BE49-F238E27FC236}">
                <a16:creationId xmlns="" xmlns:a16="http://schemas.microsoft.com/office/drawing/2014/main" id="{C3195266-81DB-5332-821A-DE9FE43D11F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89780" y="1032490"/>
            <a:ext cx="4545093" cy="44699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Capítulo Arial 16</a:t>
            </a:r>
            <a:endParaRPr lang="es-CL" dirty="0"/>
          </a:p>
        </p:txBody>
      </p:sp>
      <p:pic>
        <p:nvPicPr>
          <p:cNvPr id="47" name="Gráfico 1">
            <a:extLst>
              <a:ext uri="{FF2B5EF4-FFF2-40B4-BE49-F238E27FC236}">
                <a16:creationId xmlns="" xmlns:a16="http://schemas.microsoft.com/office/drawing/2014/main" id="{8439E0E9-8B07-843D-A908-1FA718640EB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558557" y="367978"/>
            <a:ext cx="1225552" cy="507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652600"/>
      </p:ext>
    </p:extLst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00281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20BE0170-29F6-464B-92DA-5BCC02F077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47905" y="6307024"/>
            <a:ext cx="1039662" cy="5043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b="0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/>
              <a:t>Fecha</a:t>
            </a:r>
            <a:endParaRPr lang="es-CL"/>
          </a:p>
        </p:txBody>
      </p:sp>
      <p:sp>
        <p:nvSpPr>
          <p:cNvPr id="12" name="Marcador de texto 7">
            <a:extLst>
              <a:ext uri="{FF2B5EF4-FFF2-40B4-BE49-F238E27FC236}">
                <a16:creationId xmlns="" xmlns:a16="http://schemas.microsoft.com/office/drawing/2014/main" id="{125E5D5D-7C4C-E44B-A9D3-89AF144C0E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321" y="1881407"/>
            <a:ext cx="9656127" cy="30951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6000" b="1">
                <a:solidFill>
                  <a:schemeClr val="tx1"/>
                </a:solidFill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resentación Máximo 3 líneas </a:t>
            </a:r>
          </a:p>
          <a:p>
            <a:pPr lvl="0"/>
            <a:r>
              <a:rPr lang="es-ES" dirty="0"/>
              <a:t>Arial Bold - 60 puntos</a:t>
            </a:r>
            <a:endParaRPr lang="es-CL" dirty="0"/>
          </a:p>
        </p:txBody>
      </p:sp>
      <p:pic>
        <p:nvPicPr>
          <p:cNvPr id="7" name="Gráfico 6">
            <a:extLst>
              <a:ext uri="{FF2B5EF4-FFF2-40B4-BE49-F238E27FC236}">
                <a16:creationId xmlns="" xmlns:a16="http://schemas.microsoft.com/office/drawing/2014/main" id="{DFB54729-0CF1-4AB4-9937-C811A0CD9DD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232900" y="1"/>
            <a:ext cx="2959100" cy="2959100"/>
          </a:xfrm>
          <a:prstGeom prst="rect">
            <a:avLst/>
          </a:prstGeom>
        </p:spPr>
      </p:pic>
      <p:pic>
        <p:nvPicPr>
          <p:cNvPr id="9" name="Gráfico 3">
            <a:extLst>
              <a:ext uri="{FF2B5EF4-FFF2-40B4-BE49-F238E27FC236}">
                <a16:creationId xmlns="" xmlns:a16="http://schemas.microsoft.com/office/drawing/2014/main" id="{A9074783-5EE3-1AC8-78B3-3BBE53D6D9B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47321" y="386737"/>
            <a:ext cx="1922822" cy="795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90003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28685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9FAA23D5-B1A8-589C-8ED5-F341FFFEA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99300" y="4046751"/>
            <a:ext cx="3979826" cy="504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marL="0" marR="0" lvl="0" indent="0" algn="l" defTabSz="1218406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/>
            </a:pPr>
            <a:r>
              <a:rPr lang="es-ES" dirty="0"/>
              <a:t>Subtítulo</a:t>
            </a:r>
            <a:r>
              <a:rPr lang="es-CL" dirty="0"/>
              <a:t> Arial 15</a:t>
            </a:r>
          </a:p>
        </p:txBody>
      </p:sp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0B08D841-0276-33C3-3666-53CC67862A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99299" y="2413732"/>
            <a:ext cx="3979827" cy="1300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portada </a:t>
            </a:r>
            <a:br>
              <a:rPr lang="es-ES" dirty="0"/>
            </a:br>
            <a:r>
              <a:rPr lang="es-ES" dirty="0"/>
              <a:t>máximo 3 líneas Arial Regular - 30 puntos</a:t>
            </a:r>
            <a:endParaRPr lang="es-CL" dirty="0"/>
          </a:p>
        </p:txBody>
      </p:sp>
      <p:pic>
        <p:nvPicPr>
          <p:cNvPr id="9" name="Picture 6">
            <a:extLst>
              <a:ext uri="{FF2B5EF4-FFF2-40B4-BE49-F238E27FC236}">
                <a16:creationId xmlns="" xmlns:a16="http://schemas.microsoft.com/office/drawing/2014/main" id="{98BA7C6B-DB5F-EE2E-B534-7324B6BC8C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7" r="11749"/>
          <a:stretch/>
        </p:blipFill>
        <p:spPr>
          <a:xfrm>
            <a:off x="-1082076" y="-130002"/>
            <a:ext cx="8862495" cy="7495698"/>
          </a:xfrm>
          <a:prstGeom prst="rect">
            <a:avLst/>
          </a:prstGeom>
        </p:spPr>
      </p:pic>
      <p:pic>
        <p:nvPicPr>
          <p:cNvPr id="11" name="Gráfico 7">
            <a:extLst>
              <a:ext uri="{FF2B5EF4-FFF2-40B4-BE49-F238E27FC236}">
                <a16:creationId xmlns="" xmlns:a16="http://schemas.microsoft.com/office/drawing/2014/main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559444" y="367977"/>
            <a:ext cx="1224570" cy="506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72352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5 con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6E2DA3E9-55EC-34EB-6661-D8550247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" y="811342"/>
            <a:ext cx="3974593" cy="1591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36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</a:t>
            </a:r>
            <a:br>
              <a:rPr lang="es-ES" dirty="0"/>
            </a:br>
            <a:r>
              <a:rPr lang="es-ES" dirty="0"/>
              <a:t>Máximo 3 líneas Arial - 36 puntos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04BBC7BC-8DF5-7A55-6DE5-FF82D71ABD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599" y="2747718"/>
            <a:ext cx="3496235" cy="1591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complementario Arial - 24 puntos</a:t>
            </a:r>
            <a:endParaRPr lang="es-CL" dirty="0"/>
          </a:p>
        </p:txBody>
      </p:sp>
      <p:sp>
        <p:nvSpPr>
          <p:cNvPr id="11" name="Marcador de medios 2">
            <a:extLst>
              <a:ext uri="{FF2B5EF4-FFF2-40B4-BE49-F238E27FC236}">
                <a16:creationId xmlns="" xmlns:a16="http://schemas.microsoft.com/office/drawing/2014/main" id="{EB2F4E9D-D8AF-7CE1-E65D-298040BE1DF2}"/>
              </a:ext>
            </a:extLst>
          </p:cNvPr>
          <p:cNvSpPr>
            <a:spLocks noGrp="1"/>
          </p:cNvSpPr>
          <p:nvPr>
            <p:ph type="media" sz="quarter" idx="18" hasCustomPrompt="1"/>
          </p:nvPr>
        </p:nvSpPr>
        <p:spPr>
          <a:xfrm>
            <a:off x="4805080" y="0"/>
            <a:ext cx="7386919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s-CL" dirty="0"/>
              <a:t>Doble clic para incorporar un video</a:t>
            </a:r>
          </a:p>
        </p:txBody>
      </p:sp>
      <p:pic>
        <p:nvPicPr>
          <p:cNvPr id="9" name="Gráfico 7">
            <a:extLst>
              <a:ext uri="{FF2B5EF4-FFF2-40B4-BE49-F238E27FC236}">
                <a16:creationId xmlns="" xmlns:a16="http://schemas.microsoft.com/office/drawing/2014/main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2913" y="5946684"/>
            <a:ext cx="1223790" cy="506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46840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1" pos="6584">
          <p15:clr>
            <a:srgbClr val="FBAE40"/>
          </p15:clr>
        </p15:guide>
        <p15:guide id="2" pos="3597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ierr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0295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0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áfico 1">
            <a:extLst>
              <a:ext uri="{FF2B5EF4-FFF2-40B4-BE49-F238E27FC236}">
                <a16:creationId xmlns="" xmlns:a16="http://schemas.microsoft.com/office/drawing/2014/main" id="{55A1FD02-61B9-9362-9931-2500DDF39A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81331" y="2512390"/>
            <a:ext cx="4429338" cy="1833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208354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1084120"/>
              </p:ext>
            </p:ext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4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4" name="3 Objeto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áfico 1">
            <a:extLst>
              <a:ext uri="{FF2B5EF4-FFF2-40B4-BE49-F238E27FC236}">
                <a16:creationId xmlns="" xmlns:a16="http://schemas.microsoft.com/office/drawing/2014/main" id="{0379CD50-C859-A3A9-6E4D-42577F12391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81338" y="2512391"/>
            <a:ext cx="4429324" cy="1833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808214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28685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8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53813F30-C9BF-C3FA-97C6-539F7B586C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6002" y="1325117"/>
            <a:ext cx="5340927" cy="3293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115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CL" dirty="0"/>
              <a:t>Texto</a:t>
            </a:r>
          </a:p>
        </p:txBody>
      </p:sp>
      <p:sp>
        <p:nvSpPr>
          <p:cNvPr id="10" name="Marcador de texto 7">
            <a:extLst>
              <a:ext uri="{FF2B5EF4-FFF2-40B4-BE49-F238E27FC236}">
                <a16:creationId xmlns="" xmlns:a16="http://schemas.microsoft.com/office/drawing/2014/main" id="{6FB70D57-6140-544B-66BD-B9086F39FEA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66002" y="4903909"/>
            <a:ext cx="2138711" cy="23948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200" b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 err="1"/>
              <a:t>www.achs.cl</a:t>
            </a:r>
            <a:endParaRPr lang="es-CL" dirty="0"/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D9B54E3A-1114-3FDB-72FE-1E2602E9D0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56" t="-1005" r="24290" b="18450"/>
          <a:stretch/>
        </p:blipFill>
        <p:spPr>
          <a:xfrm>
            <a:off x="379957" y="696191"/>
            <a:ext cx="5954232" cy="6161809"/>
          </a:xfrm>
          <a:prstGeom prst="rect">
            <a:avLst/>
          </a:prstGeom>
        </p:spPr>
      </p:pic>
      <p:pic>
        <p:nvPicPr>
          <p:cNvPr id="8" name="Gráfico 2">
            <a:extLst>
              <a:ext uri="{FF2B5EF4-FFF2-40B4-BE49-F238E27FC236}">
                <a16:creationId xmlns="" xmlns:a16="http://schemas.microsoft.com/office/drawing/2014/main" id="{E3F7E20D-B774-856A-0346-DD0814DF82B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866002" y="5428821"/>
            <a:ext cx="1225207" cy="507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2324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ill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exto 7">
            <a:extLst>
              <a:ext uri="{FF2B5EF4-FFF2-40B4-BE49-F238E27FC236}">
                <a16:creationId xmlns="" xmlns:a16="http://schemas.microsoft.com/office/drawing/2014/main" id="{7D61C88C-2C0C-7B1D-6536-0F4590425B1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64297" y="4868685"/>
            <a:ext cx="5863856" cy="35628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Subtítulo Arial 20</a:t>
            </a:r>
            <a:endParaRPr lang="es-CL" dirty="0"/>
          </a:p>
        </p:txBody>
      </p:sp>
      <p:sp>
        <p:nvSpPr>
          <p:cNvPr id="8" name="Marcador de texto 7">
            <a:extLst>
              <a:ext uri="{FF2B5EF4-FFF2-40B4-BE49-F238E27FC236}">
                <a16:creationId xmlns="" xmlns:a16="http://schemas.microsoft.com/office/drawing/2014/main" id="{F8BF8D9D-FA7C-CE9E-07AE-288D7938C1A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296" y="1989315"/>
            <a:ext cx="7792024" cy="23468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6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ítulo Arial Regular</a:t>
            </a:r>
            <a:br>
              <a:rPr lang="es-ES" dirty="0"/>
            </a:br>
            <a:r>
              <a:rPr lang="es-ES" dirty="0"/>
              <a:t>60 punto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0269E2A7-5379-587D-1CF3-26750B56C6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10811069" y="5477069"/>
            <a:ext cx="1380931" cy="1380931"/>
          </a:xfrm>
          <a:prstGeom prst="rect">
            <a:avLst/>
          </a:prstGeom>
        </p:spPr>
      </p:pic>
      <p:pic>
        <p:nvPicPr>
          <p:cNvPr id="6" name="Gráfico 1">
            <a:extLst>
              <a:ext uri="{FF2B5EF4-FFF2-40B4-BE49-F238E27FC236}">
                <a16:creationId xmlns="" xmlns:a16="http://schemas.microsoft.com/office/drawing/2014/main" id="{8439E0E9-8B07-843D-A908-1FA718640EB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558557" y="367978"/>
            <a:ext cx="1225552" cy="507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770453"/>
      </p:ext>
    </p:extLst>
  </p:cSld>
  <p:clrMapOvr>
    <a:masterClrMapping/>
  </p:clrMapOvr>
  <p:transition spd="med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tacad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28685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2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texto 7">
            <a:extLst>
              <a:ext uri="{FF2B5EF4-FFF2-40B4-BE49-F238E27FC236}">
                <a16:creationId xmlns="" xmlns:a16="http://schemas.microsoft.com/office/drawing/2014/main" id="{01FF962A-1313-2AFA-B1E2-6B5A9591AD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2913" y="512763"/>
            <a:ext cx="11341100" cy="5653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88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Texto importante Arial Regular - 88 puntos máximo 5 líneas</a:t>
            </a:r>
            <a:endParaRPr lang="es-CL" dirty="0"/>
          </a:p>
        </p:txBody>
      </p:sp>
      <p:sp>
        <p:nvSpPr>
          <p:cNvPr id="10" name="Marcador de número de diapositiva 23">
            <a:extLst>
              <a:ext uri="{FF2B5EF4-FFF2-40B4-BE49-F238E27FC236}">
                <a16:creationId xmlns="" xmlns:a16="http://schemas.microsoft.com/office/drawing/2014/main" id="{832595A6-04B9-5CB5-FC4C-B92263D41A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1291" y="6474653"/>
            <a:ext cx="505443" cy="23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7" name="Marcador de pie de página 2">
            <a:extLst>
              <a:ext uri="{FF2B5EF4-FFF2-40B4-BE49-F238E27FC236}">
                <a16:creationId xmlns="" xmlns:a16="http://schemas.microsoft.com/office/drawing/2014/main" id="{1E9659C6-FF96-0824-B9C3-D5B47FA10C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7578" y="6474653"/>
            <a:ext cx="10953109" cy="234291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es-CL" dirty="0"/>
          </a:p>
        </p:txBody>
      </p:sp>
      <p:pic>
        <p:nvPicPr>
          <p:cNvPr id="8" name="Gráfico 2">
            <a:extLst>
              <a:ext uri="{FF2B5EF4-FFF2-40B4-BE49-F238E27FC236}">
                <a16:creationId xmlns="" xmlns:a16="http://schemas.microsoft.com/office/drawing/2014/main" id="{A64637E1-155F-2BEB-4A13-EFCF598D097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2913" y="5658759"/>
            <a:ext cx="1225207" cy="507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73869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tacado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7D264631-F2A2-F64D-95FE-2D276C78E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28685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6"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7D264631-F2A2-F64D-95FE-2D276C78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1">
            <a:extLst>
              <a:ext uri="{FF2B5EF4-FFF2-40B4-BE49-F238E27FC236}">
                <a16:creationId xmlns="" xmlns:a16="http://schemas.microsoft.com/office/drawing/2014/main" id="{817A15A5-B715-CEBF-D3E2-601769F1BD85}"/>
              </a:ext>
            </a:extLst>
          </p:cNvPr>
          <p:cNvSpPr/>
          <p:nvPr userDrawn="1"/>
        </p:nvSpPr>
        <p:spPr>
          <a:xfrm>
            <a:off x="425451" y="602669"/>
            <a:ext cx="11341099" cy="5652663"/>
          </a:xfrm>
          <a:prstGeom prst="round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5" name="Picture 5">
            <a:extLst>
              <a:ext uri="{FF2B5EF4-FFF2-40B4-BE49-F238E27FC236}">
                <a16:creationId xmlns="" xmlns:a16="http://schemas.microsoft.com/office/drawing/2014/main" id="{2893AAB8-CDEC-DF57-25D7-289B58ACCA0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10800000">
            <a:off x="10393704" y="4883056"/>
            <a:ext cx="1380931" cy="1380931"/>
          </a:xfrm>
          <a:prstGeom prst="rect">
            <a:avLst/>
          </a:prstGeom>
        </p:spPr>
      </p:pic>
      <p:sp>
        <p:nvSpPr>
          <p:cNvPr id="6" name="Marcador de texto 7">
            <a:extLst>
              <a:ext uri="{FF2B5EF4-FFF2-40B4-BE49-F238E27FC236}">
                <a16:creationId xmlns="" xmlns:a16="http://schemas.microsoft.com/office/drawing/2014/main" id="{FA4EA27C-2903-E664-A909-96FA2D6C63C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19236" y="1033743"/>
            <a:ext cx="9953528" cy="479051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tabLst/>
              <a:defRPr sz="54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lvl="0"/>
            <a:r>
              <a:rPr lang="es-ES" dirty="0"/>
              <a:t>“Frase entre comillas” </a:t>
            </a:r>
          </a:p>
          <a:p>
            <a:pPr lvl="0"/>
            <a:r>
              <a:rPr lang="es-ES" dirty="0"/>
              <a:t>Arial</a:t>
            </a:r>
            <a:endParaRPr lang="es-CL" dirty="0"/>
          </a:p>
        </p:txBody>
      </p:sp>
      <p:sp>
        <p:nvSpPr>
          <p:cNvPr id="10" name="Marcador de número de diapositiva 23">
            <a:extLst>
              <a:ext uri="{FF2B5EF4-FFF2-40B4-BE49-F238E27FC236}">
                <a16:creationId xmlns="" xmlns:a16="http://schemas.microsoft.com/office/drawing/2014/main" id="{832595A6-04B9-5CB5-FC4C-B92263D41A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1291" y="6474653"/>
            <a:ext cx="505443" cy="234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B90B3AC-360D-4C0F-BB2D-EFC963FB8AB1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11" name="Marcador de pie de página 2">
            <a:extLst>
              <a:ext uri="{FF2B5EF4-FFF2-40B4-BE49-F238E27FC236}">
                <a16:creationId xmlns="" xmlns:a16="http://schemas.microsoft.com/office/drawing/2014/main" id="{1E9659C6-FF96-0824-B9C3-D5B47FA10C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7578" y="6474653"/>
            <a:ext cx="10953109" cy="234291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es-CL" dirty="0"/>
          </a:p>
        </p:txBody>
      </p:sp>
      <p:pic>
        <p:nvPicPr>
          <p:cNvPr id="12" name="Gráfico 1">
            <a:extLst>
              <a:ext uri="{FF2B5EF4-FFF2-40B4-BE49-F238E27FC236}">
                <a16:creationId xmlns="" xmlns:a16="http://schemas.microsoft.com/office/drawing/2014/main" id="{8439E0E9-8B07-843D-A908-1FA718640EB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1041" y="5297738"/>
            <a:ext cx="1246475" cy="515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10860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pos="359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tem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="" xmlns:a16="http://schemas.microsoft.com/office/drawing/2014/main" id="{2F91E374-5281-2D37-A713-13ABBABBB2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="" xmlns:a16="http://schemas.microsoft.com/office/drawing/2014/main" id="{2F91E374-5281-2D37-A713-13ABBABBB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ítulo 2">
            <a:extLst>
              <a:ext uri="{FF2B5EF4-FFF2-40B4-BE49-F238E27FC236}">
                <a16:creationId xmlns="" xmlns:a16="http://schemas.microsoft.com/office/drawing/2014/main" id="{80F49EB7-6646-294D-B55D-2104414C84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sp>
        <p:nvSpPr>
          <p:cNvPr id="10" name="Título 9">
            <a:extLst>
              <a:ext uri="{FF2B5EF4-FFF2-40B4-BE49-F238E27FC236}">
                <a16:creationId xmlns="" xmlns:a16="http://schemas.microsoft.com/office/drawing/2014/main" id="{82389CB6-136C-A038-3555-AD7AD7E74A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r>
              <a:rPr lang="es-ES" dirty="0"/>
              <a:t/>
            </a:r>
            <a:br>
              <a:rPr lang="es-ES" dirty="0"/>
            </a:br>
            <a:endParaRPr lang="es-CL" dirty="0"/>
          </a:p>
        </p:txBody>
      </p:sp>
      <p:sp>
        <p:nvSpPr>
          <p:cNvPr id="35" name="Marcador de texto 34">
            <a:extLst>
              <a:ext uri="{FF2B5EF4-FFF2-40B4-BE49-F238E27FC236}">
                <a16:creationId xmlns="" xmlns:a16="http://schemas.microsoft.com/office/drawing/2014/main" id="{BB82F20E-2D17-F38A-E34B-C654A253BC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6170" y="2297968"/>
            <a:ext cx="9048001" cy="360000"/>
          </a:xfrm>
          <a:solidFill>
            <a:schemeClr val="tx2"/>
          </a:solidFill>
        </p:spPr>
        <p:txBody>
          <a:bodyPr lIns="360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36" name="Marcador de texto 31">
            <a:extLst>
              <a:ext uri="{FF2B5EF4-FFF2-40B4-BE49-F238E27FC236}">
                <a16:creationId xmlns="" xmlns:a16="http://schemas.microsoft.com/office/drawing/2014/main" id="{16ADD03A-1395-6E97-679C-D7F51E2F28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7577" y="2300780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37" name="Marcador de texto 34">
            <a:extLst>
              <a:ext uri="{FF2B5EF4-FFF2-40B4-BE49-F238E27FC236}">
                <a16:creationId xmlns="" xmlns:a16="http://schemas.microsoft.com/office/drawing/2014/main" id="{505AF208-B13D-E587-055E-30DBBBD5543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6170" y="3478700"/>
            <a:ext cx="9048001" cy="360000"/>
          </a:xfrm>
          <a:noFill/>
        </p:spPr>
        <p:txBody>
          <a:bodyPr lIns="360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38" name="Marcador de texto 31">
            <a:extLst>
              <a:ext uri="{FF2B5EF4-FFF2-40B4-BE49-F238E27FC236}">
                <a16:creationId xmlns="" xmlns:a16="http://schemas.microsoft.com/office/drawing/2014/main" id="{D1EACBFF-A7F4-1FA2-E28A-77A7403DB78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577" y="3481512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39" name="Marcador de texto 34">
            <a:extLst>
              <a:ext uri="{FF2B5EF4-FFF2-40B4-BE49-F238E27FC236}">
                <a16:creationId xmlns="" xmlns:a16="http://schemas.microsoft.com/office/drawing/2014/main" id="{C6622F28-6A8D-F61E-FDF3-E171FFB2B29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6170" y="4668305"/>
            <a:ext cx="9048001" cy="360000"/>
          </a:xfrm>
          <a:noFill/>
        </p:spPr>
        <p:txBody>
          <a:bodyPr lIns="360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40" name="Marcador de texto 31">
            <a:extLst>
              <a:ext uri="{FF2B5EF4-FFF2-40B4-BE49-F238E27FC236}">
                <a16:creationId xmlns="" xmlns:a16="http://schemas.microsoft.com/office/drawing/2014/main" id="{02AAB428-3DBD-D653-E8E7-6AB9615EBBB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577" y="4671117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2" name="Marcador de pie de página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17017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8 tem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=""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=""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sp>
        <p:nvSpPr>
          <p:cNvPr id="41" name="Marcador de texto 34">
            <a:extLst>
              <a:ext uri="{FF2B5EF4-FFF2-40B4-BE49-F238E27FC236}">
                <a16:creationId xmlns="" xmlns:a16="http://schemas.microsoft.com/office/drawing/2014/main" id="{36C4881C-3E51-FC59-5883-24021D8BD3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6172" y="2175581"/>
            <a:ext cx="4222665" cy="360000"/>
          </a:xfrm>
          <a:solidFill>
            <a:schemeClr val="tx2"/>
          </a:solidFill>
        </p:spPr>
        <p:txBody>
          <a:bodyPr lIns="360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42" name="Marcador de texto 31">
            <a:extLst>
              <a:ext uri="{FF2B5EF4-FFF2-40B4-BE49-F238E27FC236}">
                <a16:creationId xmlns="" xmlns:a16="http://schemas.microsoft.com/office/drawing/2014/main" id="{C69072E1-6E04-CA54-BFB5-DCF1DA9436D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7578" y="2178393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43" name="Marcador de texto 34">
            <a:extLst>
              <a:ext uri="{FF2B5EF4-FFF2-40B4-BE49-F238E27FC236}">
                <a16:creationId xmlns="" xmlns:a16="http://schemas.microsoft.com/office/drawing/2014/main" id="{E4764955-B8B9-8384-1CF7-BDF09A3E2EA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26172" y="3152611"/>
            <a:ext cx="4222665" cy="360000"/>
          </a:xfrm>
          <a:solidFill>
            <a:schemeClr val="tx2"/>
          </a:solidFill>
        </p:spPr>
        <p:txBody>
          <a:bodyPr lIns="360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44" name="Marcador de texto 31">
            <a:extLst>
              <a:ext uri="{FF2B5EF4-FFF2-40B4-BE49-F238E27FC236}">
                <a16:creationId xmlns="" xmlns:a16="http://schemas.microsoft.com/office/drawing/2014/main" id="{F806080E-3DB9-A6B3-2C07-40814D52BC1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7578" y="3155423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45" name="Marcador de texto 34">
            <a:extLst>
              <a:ext uri="{FF2B5EF4-FFF2-40B4-BE49-F238E27FC236}">
                <a16:creationId xmlns="" xmlns:a16="http://schemas.microsoft.com/office/drawing/2014/main" id="{B3685CC4-E913-26E7-F486-8BBD6FF9375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6172" y="4067011"/>
            <a:ext cx="4222665" cy="360000"/>
          </a:xfrm>
          <a:solidFill>
            <a:schemeClr val="tx2"/>
          </a:solidFill>
        </p:spPr>
        <p:txBody>
          <a:bodyPr lIns="360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46" name="Marcador de texto 31">
            <a:extLst>
              <a:ext uri="{FF2B5EF4-FFF2-40B4-BE49-F238E27FC236}">
                <a16:creationId xmlns="" xmlns:a16="http://schemas.microsoft.com/office/drawing/2014/main" id="{1955BF48-41FA-1C54-8221-F81BF1A83D5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7578" y="4069823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47" name="Marcador de texto 34">
            <a:extLst>
              <a:ext uri="{FF2B5EF4-FFF2-40B4-BE49-F238E27FC236}">
                <a16:creationId xmlns="" xmlns:a16="http://schemas.microsoft.com/office/drawing/2014/main" id="{EEF4BC2E-0F75-7A4F-6313-4F8299C6301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6172" y="5044041"/>
            <a:ext cx="4222665" cy="360000"/>
          </a:xfrm>
          <a:solidFill>
            <a:schemeClr val="tx2"/>
          </a:solidFill>
        </p:spPr>
        <p:txBody>
          <a:bodyPr lIns="360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48" name="Marcador de texto 31">
            <a:extLst>
              <a:ext uri="{FF2B5EF4-FFF2-40B4-BE49-F238E27FC236}">
                <a16:creationId xmlns="" xmlns:a16="http://schemas.microsoft.com/office/drawing/2014/main" id="{465C0AA6-4DCA-EA3F-CA82-295E21E337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47578" y="5046853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49" name="Marcador de texto 34">
            <a:extLst>
              <a:ext uri="{FF2B5EF4-FFF2-40B4-BE49-F238E27FC236}">
                <a16:creationId xmlns="" xmlns:a16="http://schemas.microsoft.com/office/drawing/2014/main" id="{FB0DDD56-88BD-DFDD-D2D3-4EF7EA59186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018596" y="2175581"/>
            <a:ext cx="4222665" cy="360000"/>
          </a:xfrm>
          <a:solidFill>
            <a:schemeClr val="tx2"/>
          </a:solidFill>
        </p:spPr>
        <p:txBody>
          <a:bodyPr lIns="360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50" name="Marcador de texto 31">
            <a:extLst>
              <a:ext uri="{FF2B5EF4-FFF2-40B4-BE49-F238E27FC236}">
                <a16:creationId xmlns="" xmlns:a16="http://schemas.microsoft.com/office/drawing/2014/main" id="{FA0E4429-A960-3F59-7287-F08CAC4D75F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840002" y="2178393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51" name="Marcador de texto 34">
            <a:extLst>
              <a:ext uri="{FF2B5EF4-FFF2-40B4-BE49-F238E27FC236}">
                <a16:creationId xmlns="" xmlns:a16="http://schemas.microsoft.com/office/drawing/2014/main" id="{BBFAE26C-E8D3-3868-64CA-2FB139FA919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018596" y="3152611"/>
            <a:ext cx="4222665" cy="360000"/>
          </a:xfrm>
          <a:solidFill>
            <a:schemeClr val="tx2"/>
          </a:solidFill>
        </p:spPr>
        <p:txBody>
          <a:bodyPr lIns="360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52" name="Marcador de texto 31">
            <a:extLst>
              <a:ext uri="{FF2B5EF4-FFF2-40B4-BE49-F238E27FC236}">
                <a16:creationId xmlns="" xmlns:a16="http://schemas.microsoft.com/office/drawing/2014/main" id="{3A48C3C8-A660-1896-28E9-543E776D589D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840002" y="3155423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53" name="Marcador de texto 34">
            <a:extLst>
              <a:ext uri="{FF2B5EF4-FFF2-40B4-BE49-F238E27FC236}">
                <a16:creationId xmlns="" xmlns:a16="http://schemas.microsoft.com/office/drawing/2014/main" id="{CC76659D-EA83-09B7-2000-43A1EDD3BD75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018596" y="4067011"/>
            <a:ext cx="4222665" cy="360000"/>
          </a:xfrm>
          <a:solidFill>
            <a:schemeClr val="tx2"/>
          </a:solidFill>
        </p:spPr>
        <p:txBody>
          <a:bodyPr lIns="360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54" name="Marcador de texto 31">
            <a:extLst>
              <a:ext uri="{FF2B5EF4-FFF2-40B4-BE49-F238E27FC236}">
                <a16:creationId xmlns="" xmlns:a16="http://schemas.microsoft.com/office/drawing/2014/main" id="{684E5F43-03F5-FA4D-0EA6-3E2A70CE880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840002" y="4069823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55" name="Marcador de texto 34">
            <a:extLst>
              <a:ext uri="{FF2B5EF4-FFF2-40B4-BE49-F238E27FC236}">
                <a16:creationId xmlns="" xmlns:a16="http://schemas.microsoft.com/office/drawing/2014/main" id="{8167DC47-DBB4-8851-D8DE-56EA4C485B6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018596" y="5044041"/>
            <a:ext cx="4222665" cy="360000"/>
          </a:xfrm>
          <a:solidFill>
            <a:schemeClr val="tx2"/>
          </a:solidFill>
        </p:spPr>
        <p:txBody>
          <a:bodyPr lIns="360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56" name="Marcador de texto 31">
            <a:extLst>
              <a:ext uri="{FF2B5EF4-FFF2-40B4-BE49-F238E27FC236}">
                <a16:creationId xmlns="" xmlns:a16="http://schemas.microsoft.com/office/drawing/2014/main" id="{0D2F8610-F42B-1483-8E0B-8C09023A600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840002" y="5046853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57" name="Subtítulo 2">
            <a:extLst>
              <a:ext uri="{FF2B5EF4-FFF2-40B4-BE49-F238E27FC236}">
                <a16:creationId xmlns="" xmlns:a16="http://schemas.microsoft.com/office/drawing/2014/main" id="{C26E1CCB-40F5-C730-7CB1-0FD3E86B82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577" y="1148262"/>
            <a:ext cx="9792000" cy="360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Haga clic para modificar el estilo de subtítulo del patrón</a:t>
            </a:r>
            <a:endParaRPr lang="es-CL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51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2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87096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on horar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="" xmlns:a16="http://schemas.microsoft.com/office/drawing/2014/main" id="{F10A64CD-8DD8-45CA-81EB-EAD9AEAA9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="" xmlns:a16="http://schemas.microsoft.com/office/drawing/2014/main" id="{F10A64CD-8DD8-45CA-81EB-EAD9AEAA9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79DD609-3848-1A58-181F-8574EA59BF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s-ES" dirty="0"/>
              <a:t>Haga clic para modificar el estilo de título del patrón</a:t>
            </a:r>
            <a:br>
              <a:rPr lang="es-ES" dirty="0"/>
            </a:br>
            <a:endParaRPr lang="es-CL" dirty="0"/>
          </a:p>
        </p:txBody>
      </p:sp>
      <p:sp>
        <p:nvSpPr>
          <p:cNvPr id="41" name="Marcador de texto 34">
            <a:extLst>
              <a:ext uri="{FF2B5EF4-FFF2-40B4-BE49-F238E27FC236}">
                <a16:creationId xmlns="" xmlns:a16="http://schemas.microsoft.com/office/drawing/2014/main" id="{36C4881C-3E51-FC59-5883-24021D8BD3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6842" y="1814254"/>
            <a:ext cx="8244000" cy="658800"/>
          </a:xfrm>
          <a:solidFill>
            <a:schemeClr val="tx2"/>
          </a:solidFill>
        </p:spPr>
        <p:txBody>
          <a:bodyPr lIns="360000" tIns="90000" bIns="90000" anchor="t" anchorCtr="0">
            <a:noAutofit/>
          </a:bodyPr>
          <a:lstStyle>
            <a:lvl1pPr marL="0" indent="0">
              <a:buNone/>
              <a:defRPr sz="1400" b="1" baseline="0"/>
            </a:lvl1pPr>
          </a:lstStyle>
          <a:p>
            <a:pPr lvl="0"/>
            <a:r>
              <a:rPr lang="es-ES" dirty="0"/>
              <a:t>Tema N</a:t>
            </a:r>
            <a:br>
              <a:rPr lang="es-ES" dirty="0"/>
            </a:br>
            <a:endParaRPr lang="es-ES" dirty="0"/>
          </a:p>
        </p:txBody>
      </p:sp>
      <p:sp>
        <p:nvSpPr>
          <p:cNvPr id="42" name="Marcador de texto 31">
            <a:extLst>
              <a:ext uri="{FF2B5EF4-FFF2-40B4-BE49-F238E27FC236}">
                <a16:creationId xmlns="" xmlns:a16="http://schemas.microsoft.com/office/drawing/2014/main" id="{C69072E1-6E04-CA54-BFB5-DCF1DA9436D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7575" y="1814254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57" name="Subtítulo 2">
            <a:extLst>
              <a:ext uri="{FF2B5EF4-FFF2-40B4-BE49-F238E27FC236}">
                <a16:creationId xmlns="" xmlns:a16="http://schemas.microsoft.com/office/drawing/2014/main" id="{C26E1CCB-40F5-C730-7CB1-0FD3E86B82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7577" y="1303885"/>
            <a:ext cx="8422593" cy="253454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dirty="0"/>
              <a:t>Texto</a:t>
            </a:r>
            <a:endParaRPr lang="es-CL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51"/>
          </p:nvPr>
        </p:nvSpPr>
        <p:spPr/>
        <p:txBody>
          <a:bodyPr/>
          <a:lstStyle/>
          <a:p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2"/>
          </p:nvPr>
        </p:nvSpPr>
        <p:spPr/>
        <p:txBody>
          <a:bodyPr/>
          <a:lstStyle/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cxnSp>
        <p:nvCxnSpPr>
          <p:cNvPr id="6" name="Conector recto 5"/>
          <p:cNvCxnSpPr/>
          <p:nvPr userDrawn="1"/>
        </p:nvCxnSpPr>
        <p:spPr>
          <a:xfrm flipV="1">
            <a:off x="447577" y="1553707"/>
            <a:ext cx="4528939" cy="1599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Marcador de texto 49">
            <a:extLst>
              <a:ext uri="{FF2B5EF4-FFF2-40B4-BE49-F238E27FC236}">
                <a16:creationId xmlns="" xmlns:a16="http://schemas.microsoft.com/office/drawing/2014/main" id="{E92E4CC6-CD15-8A63-0189-506371F9044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21257" y="1303885"/>
            <a:ext cx="2664000" cy="252000"/>
          </a:xfrm>
          <a:noFill/>
        </p:spPr>
        <p:txBody>
          <a:bodyPr>
            <a:no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37" name="Marcador de texto 34">
            <a:extLst>
              <a:ext uri="{FF2B5EF4-FFF2-40B4-BE49-F238E27FC236}">
                <a16:creationId xmlns="" xmlns:a16="http://schemas.microsoft.com/office/drawing/2014/main" id="{36C4881C-3E51-FC59-5883-24021D8BD314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9121257" y="1814254"/>
            <a:ext cx="2662756" cy="658800"/>
          </a:xfrm>
          <a:solidFill>
            <a:schemeClr val="tx2"/>
          </a:solidFill>
        </p:spPr>
        <p:txBody>
          <a:bodyPr lIns="90000" tIns="90000" bIns="90000" anchor="t" anchorCtr="0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38" name="Marcador de texto 34">
            <a:extLst>
              <a:ext uri="{FF2B5EF4-FFF2-40B4-BE49-F238E27FC236}">
                <a16:creationId xmlns="" xmlns:a16="http://schemas.microsoft.com/office/drawing/2014/main" id="{36C4881C-3E51-FC59-5883-24021D8BD31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121257" y="2668930"/>
            <a:ext cx="2662756" cy="657138"/>
          </a:xfrm>
          <a:solidFill>
            <a:schemeClr val="bg1"/>
          </a:solidFill>
        </p:spPr>
        <p:txBody>
          <a:bodyPr lIns="90000" tIns="90000" bIns="90000" anchor="t" anchorCtr="0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39" name="Marcador de texto 34">
            <a:extLst>
              <a:ext uri="{FF2B5EF4-FFF2-40B4-BE49-F238E27FC236}">
                <a16:creationId xmlns="" xmlns:a16="http://schemas.microsoft.com/office/drawing/2014/main" id="{36C4881C-3E51-FC59-5883-24021D8BD314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121257" y="3523606"/>
            <a:ext cx="2662756" cy="657138"/>
          </a:xfrm>
          <a:solidFill>
            <a:schemeClr val="bg1"/>
          </a:solidFill>
        </p:spPr>
        <p:txBody>
          <a:bodyPr lIns="90000" tIns="90000" bIns="90000" anchor="t" anchorCtr="0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40" name="Marcador de texto 34">
            <a:extLst>
              <a:ext uri="{FF2B5EF4-FFF2-40B4-BE49-F238E27FC236}">
                <a16:creationId xmlns="" xmlns:a16="http://schemas.microsoft.com/office/drawing/2014/main" id="{36C4881C-3E51-FC59-5883-24021D8BD314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9121257" y="4378282"/>
            <a:ext cx="2662756" cy="657138"/>
          </a:xfrm>
          <a:solidFill>
            <a:schemeClr val="bg1"/>
          </a:solidFill>
        </p:spPr>
        <p:txBody>
          <a:bodyPr lIns="90000" tIns="90000" bIns="90000" anchor="t" anchorCtr="0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58" name="Marcador de texto 34">
            <a:extLst>
              <a:ext uri="{FF2B5EF4-FFF2-40B4-BE49-F238E27FC236}">
                <a16:creationId xmlns="" xmlns:a16="http://schemas.microsoft.com/office/drawing/2014/main" id="{36C4881C-3E51-FC59-5883-24021D8BD314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9121257" y="5232958"/>
            <a:ext cx="2662756" cy="657138"/>
          </a:xfrm>
          <a:solidFill>
            <a:schemeClr val="bg1"/>
          </a:solidFill>
        </p:spPr>
        <p:txBody>
          <a:bodyPr lIns="90000" tIns="90000" bIns="90000" anchor="t" anchorCtr="0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s-ES" dirty="0"/>
              <a:t>Tema N</a:t>
            </a:r>
            <a:endParaRPr lang="es-CL" dirty="0"/>
          </a:p>
        </p:txBody>
      </p:sp>
      <p:sp>
        <p:nvSpPr>
          <p:cNvPr id="49" name="Marcador de texto 34">
            <a:extLst>
              <a:ext uri="{FF2B5EF4-FFF2-40B4-BE49-F238E27FC236}">
                <a16:creationId xmlns="" xmlns:a16="http://schemas.microsoft.com/office/drawing/2014/main" id="{36C4881C-3E51-FC59-5883-24021D8BD314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26170" y="5232958"/>
            <a:ext cx="8244000" cy="658800"/>
          </a:xfrm>
          <a:solidFill>
            <a:schemeClr val="bg1"/>
          </a:solidFill>
        </p:spPr>
        <p:txBody>
          <a:bodyPr lIns="360000" tIns="90000" bIns="90000" anchor="t" anchorCtr="0">
            <a:noAutofit/>
          </a:bodyPr>
          <a:lstStyle>
            <a:lvl1pPr marL="0" indent="0">
              <a:buNone/>
              <a:defRPr sz="1400" b="1" baseline="0"/>
            </a:lvl1pPr>
          </a:lstStyle>
          <a:p>
            <a:pPr lvl="0"/>
            <a:r>
              <a:rPr lang="es-ES" dirty="0"/>
              <a:t>Tema N</a:t>
            </a:r>
          </a:p>
        </p:txBody>
      </p:sp>
      <p:sp>
        <p:nvSpPr>
          <p:cNvPr id="50" name="Marcador de texto 31">
            <a:extLst>
              <a:ext uri="{FF2B5EF4-FFF2-40B4-BE49-F238E27FC236}">
                <a16:creationId xmlns="" xmlns:a16="http://schemas.microsoft.com/office/drawing/2014/main" id="{C69072E1-6E04-CA54-BFB5-DCF1DA9436D0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56903" y="5232958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51" name="Marcador de texto 34">
            <a:extLst>
              <a:ext uri="{FF2B5EF4-FFF2-40B4-BE49-F238E27FC236}">
                <a16:creationId xmlns="" xmlns:a16="http://schemas.microsoft.com/office/drawing/2014/main" id="{36C4881C-3E51-FC59-5883-24021D8BD31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26170" y="4378282"/>
            <a:ext cx="8244000" cy="658800"/>
          </a:xfrm>
          <a:solidFill>
            <a:schemeClr val="bg1"/>
          </a:solidFill>
        </p:spPr>
        <p:txBody>
          <a:bodyPr lIns="360000" tIns="90000" bIns="90000" anchor="t" anchorCtr="0">
            <a:noAutofit/>
          </a:bodyPr>
          <a:lstStyle>
            <a:lvl1pPr marL="0" indent="0">
              <a:buNone/>
              <a:defRPr sz="1400" b="1" baseline="0"/>
            </a:lvl1pPr>
          </a:lstStyle>
          <a:p>
            <a:pPr lvl="0"/>
            <a:r>
              <a:rPr lang="es-ES" dirty="0"/>
              <a:t>Tema N</a:t>
            </a:r>
          </a:p>
        </p:txBody>
      </p:sp>
      <p:sp>
        <p:nvSpPr>
          <p:cNvPr id="52" name="Marcador de texto 31">
            <a:extLst>
              <a:ext uri="{FF2B5EF4-FFF2-40B4-BE49-F238E27FC236}">
                <a16:creationId xmlns="" xmlns:a16="http://schemas.microsoft.com/office/drawing/2014/main" id="{C69072E1-6E04-CA54-BFB5-DCF1DA9436D0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456903" y="4378282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53" name="Marcador de texto 34">
            <a:extLst>
              <a:ext uri="{FF2B5EF4-FFF2-40B4-BE49-F238E27FC236}">
                <a16:creationId xmlns="" xmlns:a16="http://schemas.microsoft.com/office/drawing/2014/main" id="{36C4881C-3E51-FC59-5883-24021D8BD314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26170" y="3523606"/>
            <a:ext cx="8244000" cy="658800"/>
          </a:xfrm>
          <a:solidFill>
            <a:schemeClr val="bg1"/>
          </a:solidFill>
        </p:spPr>
        <p:txBody>
          <a:bodyPr lIns="360000" tIns="90000" bIns="90000" anchor="t" anchorCtr="0">
            <a:noAutofit/>
          </a:bodyPr>
          <a:lstStyle>
            <a:lvl1pPr marL="0" indent="0">
              <a:buNone/>
              <a:defRPr sz="1400" b="1" baseline="0"/>
            </a:lvl1pPr>
          </a:lstStyle>
          <a:p>
            <a:pPr lvl="0"/>
            <a:r>
              <a:rPr lang="es-ES" dirty="0"/>
              <a:t>Tema N</a:t>
            </a:r>
          </a:p>
        </p:txBody>
      </p:sp>
      <p:sp>
        <p:nvSpPr>
          <p:cNvPr id="54" name="Marcador de texto 31">
            <a:extLst>
              <a:ext uri="{FF2B5EF4-FFF2-40B4-BE49-F238E27FC236}">
                <a16:creationId xmlns="" xmlns:a16="http://schemas.microsoft.com/office/drawing/2014/main" id="{C69072E1-6E04-CA54-BFB5-DCF1DA9436D0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456903" y="3523606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  <p:sp>
        <p:nvSpPr>
          <p:cNvPr id="55" name="Marcador de texto 34">
            <a:extLst>
              <a:ext uri="{FF2B5EF4-FFF2-40B4-BE49-F238E27FC236}">
                <a16:creationId xmlns="" xmlns:a16="http://schemas.microsoft.com/office/drawing/2014/main" id="{36C4881C-3E51-FC59-5883-24021D8BD314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612180" y="2668930"/>
            <a:ext cx="8244000" cy="658800"/>
          </a:xfrm>
          <a:solidFill>
            <a:schemeClr val="bg1"/>
          </a:solidFill>
        </p:spPr>
        <p:txBody>
          <a:bodyPr lIns="360000" tIns="90000" bIns="90000" anchor="t" anchorCtr="0">
            <a:noAutofit/>
          </a:bodyPr>
          <a:lstStyle>
            <a:lvl1pPr marL="0" indent="0">
              <a:buNone/>
              <a:defRPr sz="1400" b="1" baseline="0"/>
            </a:lvl1pPr>
          </a:lstStyle>
          <a:p>
            <a:pPr lvl="0"/>
            <a:r>
              <a:rPr lang="es-ES" dirty="0"/>
              <a:t>Tema N</a:t>
            </a:r>
          </a:p>
        </p:txBody>
      </p:sp>
      <p:sp>
        <p:nvSpPr>
          <p:cNvPr id="56" name="Marcador de texto 31">
            <a:extLst>
              <a:ext uri="{FF2B5EF4-FFF2-40B4-BE49-F238E27FC236}">
                <a16:creationId xmlns="" xmlns:a16="http://schemas.microsoft.com/office/drawing/2014/main" id="{C69072E1-6E04-CA54-BFB5-DCF1DA9436D0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433586" y="2668930"/>
            <a:ext cx="357188" cy="35718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>
            <a:noAutofit/>
          </a:bodyPr>
          <a:lstStyle>
            <a:lvl1pPr marL="0" indent="0" algn="ctr">
              <a:buNone/>
              <a:defRPr b="1"/>
            </a:lvl1pPr>
            <a:lvl5pPr>
              <a:defRPr/>
            </a:lvl5pPr>
          </a:lstStyle>
          <a:p>
            <a:pPr lvl="0"/>
            <a:r>
              <a:rPr lang="es-ES" dirty="0"/>
              <a:t>N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6329647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22.xml"/><Relationship Id="rId26" Type="http://schemas.openxmlformats.org/officeDocument/2006/relationships/slideLayout" Target="../slideLayouts/slideLayout30.xml"/><Relationship Id="rId39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25.xml"/><Relationship Id="rId34" Type="http://schemas.openxmlformats.org/officeDocument/2006/relationships/slideLayout" Target="../slideLayouts/slideLayout38.xml"/><Relationship Id="rId42" Type="http://schemas.openxmlformats.org/officeDocument/2006/relationships/slideLayout" Target="../slideLayouts/slideLayout46.xml"/><Relationship Id="rId47" Type="http://schemas.openxmlformats.org/officeDocument/2006/relationships/slideLayout" Target="../slideLayouts/slideLayout51.xml"/><Relationship Id="rId50" Type="http://schemas.openxmlformats.org/officeDocument/2006/relationships/slideLayout" Target="../slideLayouts/slideLayout54.xml"/><Relationship Id="rId55" Type="http://schemas.openxmlformats.org/officeDocument/2006/relationships/tags" Target="../tags/tag6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21.xml"/><Relationship Id="rId25" Type="http://schemas.openxmlformats.org/officeDocument/2006/relationships/slideLayout" Target="../slideLayouts/slideLayout29.xml"/><Relationship Id="rId33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42.xml"/><Relationship Id="rId46" Type="http://schemas.openxmlformats.org/officeDocument/2006/relationships/slideLayout" Target="../slideLayouts/slideLayout50.xml"/><Relationship Id="rId59" Type="http://schemas.openxmlformats.org/officeDocument/2006/relationships/image" Target="../media/image13.svg"/><Relationship Id="rId2" Type="http://schemas.openxmlformats.org/officeDocument/2006/relationships/slideLayout" Target="../slideLayouts/slideLayout6.xml"/><Relationship Id="rId16" Type="http://schemas.openxmlformats.org/officeDocument/2006/relationships/slideLayout" Target="../slideLayouts/slideLayout20.xml"/><Relationship Id="rId20" Type="http://schemas.openxmlformats.org/officeDocument/2006/relationships/slideLayout" Target="../slideLayouts/slideLayout24.xml"/><Relationship Id="rId29" Type="http://schemas.openxmlformats.org/officeDocument/2006/relationships/slideLayout" Target="../slideLayouts/slideLayout33.xml"/><Relationship Id="rId41" Type="http://schemas.openxmlformats.org/officeDocument/2006/relationships/slideLayout" Target="../slideLayouts/slideLayout45.xml"/><Relationship Id="rId54" Type="http://schemas.openxmlformats.org/officeDocument/2006/relationships/vmlDrawing" Target="../drawings/vmlDrawing5.v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24" Type="http://schemas.openxmlformats.org/officeDocument/2006/relationships/slideLayout" Target="../slideLayouts/slideLayout28.xml"/><Relationship Id="rId32" Type="http://schemas.openxmlformats.org/officeDocument/2006/relationships/slideLayout" Target="../slideLayouts/slideLayout36.xml"/><Relationship Id="rId37" Type="http://schemas.openxmlformats.org/officeDocument/2006/relationships/slideLayout" Target="../slideLayouts/slideLayout41.xml"/><Relationship Id="rId40" Type="http://schemas.openxmlformats.org/officeDocument/2006/relationships/slideLayout" Target="../slideLayouts/slideLayout44.xml"/><Relationship Id="rId45" Type="http://schemas.openxmlformats.org/officeDocument/2006/relationships/slideLayout" Target="../slideLayouts/slideLayout49.xml"/><Relationship Id="rId53" Type="http://schemas.openxmlformats.org/officeDocument/2006/relationships/theme" Target="../theme/theme2.xml"/><Relationship Id="rId58" Type="http://schemas.openxmlformats.org/officeDocument/2006/relationships/image" Target="../media/image10.png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23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32.xml"/><Relationship Id="rId36" Type="http://schemas.openxmlformats.org/officeDocument/2006/relationships/slideLayout" Target="../slideLayouts/slideLayout40.xml"/><Relationship Id="rId49" Type="http://schemas.openxmlformats.org/officeDocument/2006/relationships/slideLayout" Target="../slideLayouts/slideLayout53.xml"/><Relationship Id="rId57" Type="http://schemas.openxmlformats.org/officeDocument/2006/relationships/image" Target="../media/image9.emf"/><Relationship Id="rId10" Type="http://schemas.openxmlformats.org/officeDocument/2006/relationships/slideLayout" Target="../slideLayouts/slideLayout14.xml"/><Relationship Id="rId19" Type="http://schemas.openxmlformats.org/officeDocument/2006/relationships/slideLayout" Target="../slideLayouts/slideLayout23.xml"/><Relationship Id="rId31" Type="http://schemas.openxmlformats.org/officeDocument/2006/relationships/slideLayout" Target="../slideLayouts/slideLayout35.xml"/><Relationship Id="rId44" Type="http://schemas.openxmlformats.org/officeDocument/2006/relationships/slideLayout" Target="../slideLayouts/slideLayout48.xml"/><Relationship Id="rId52" Type="http://schemas.openxmlformats.org/officeDocument/2006/relationships/slideLayout" Target="../slideLayouts/slideLayout56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Relationship Id="rId22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31.xml"/><Relationship Id="rId30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9.xml"/><Relationship Id="rId43" Type="http://schemas.openxmlformats.org/officeDocument/2006/relationships/slideLayout" Target="../slideLayouts/slideLayout47.xml"/><Relationship Id="rId48" Type="http://schemas.openxmlformats.org/officeDocument/2006/relationships/slideLayout" Target="../slideLayouts/slideLayout52.xml"/><Relationship Id="rId56" Type="http://schemas.openxmlformats.org/officeDocument/2006/relationships/oleObject" Target="../embeddings/oleObject5.bin"/><Relationship Id="rId8" Type="http://schemas.openxmlformats.org/officeDocument/2006/relationships/slideLayout" Target="../slideLayouts/slideLayout12.xml"/><Relationship Id="rId51" Type="http://schemas.openxmlformats.org/officeDocument/2006/relationships/slideLayout" Target="../slideLayouts/slideLayout55.xml"/><Relationship Id="rId3" Type="http://schemas.openxmlformats.org/officeDocument/2006/relationships/slideLayout" Target="../slideLayouts/slideLayout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17" Type="http://schemas.openxmlformats.org/officeDocument/2006/relationships/image" Target="../media/image9.emf"/><Relationship Id="rId2" Type="http://schemas.openxmlformats.org/officeDocument/2006/relationships/slideLayout" Target="../slideLayouts/slideLayout58.xml"/><Relationship Id="rId16" Type="http://schemas.openxmlformats.org/officeDocument/2006/relationships/oleObject" Target="../embeddings/oleObject58.bin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tags" Target="../tags/tag75.x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vmlDrawing" Target="../drawings/vmlDrawing5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="" xmlns:a16="http://schemas.microsoft.com/office/drawing/2014/main" id="{32A4F985-5364-6E40-4A83-23C6EC5482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Diapositiva de think-cell" r:id="rId8" imgW="415" imgH="416" progId="TCLayout.ActiveDocument.1">
                  <p:embed/>
                </p:oleObj>
              </mc:Choice>
              <mc:Fallback>
                <p:oleObj name="Diapositiva de think-cell" r:id="rId8" imgW="415" imgH="41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="" xmlns:a16="http://schemas.microsoft.com/office/drawing/2014/main" id="{32A4F985-5364-6E40-4A83-23C6EC5482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6">
            <a:extLst>
              <a:ext uri="{FF2B5EF4-FFF2-40B4-BE49-F238E27FC236}">
                <a16:creationId xmlns="" xmlns:a16="http://schemas.microsoft.com/office/drawing/2014/main" id="{8EBDBA09-EDD8-FFE9-5AB1-157BBCC9C4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711058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8" r:id="rId2"/>
    <p:sldLayoutId id="2147483776" r:id="rId3"/>
    <p:sldLayoutId id="2147483778" r:id="rId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6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۔"/>
        <a:defRPr sz="1400" b="0" kern="1200">
          <a:solidFill>
            <a:schemeClr val="accent3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="" xmlns:a16="http://schemas.microsoft.com/office/drawing/2014/main" id="{7E22C0DD-7EC0-CB13-19EE-F05783A24E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Diapositiva de think-cell" r:id="rId56" imgW="395" imgH="396" progId="TCLayout.ActiveDocument.1">
                  <p:embed/>
                </p:oleObj>
              </mc:Choice>
              <mc:Fallback>
                <p:oleObj name="Diapositiva de think-cell" r:id="rId56" imgW="395" imgH="396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="" xmlns:a16="http://schemas.microsoft.com/office/drawing/2014/main" id="{7E22C0DD-7EC0-CB13-19EE-F05783A24E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Conector recto 18">
            <a:extLst>
              <a:ext uri="{FF2B5EF4-FFF2-40B4-BE49-F238E27FC236}">
                <a16:creationId xmlns="" xmlns:a16="http://schemas.microsoft.com/office/drawing/2014/main" id="{0031F56D-A399-10B4-C046-ECC58D0B382A}"/>
              </a:ext>
            </a:extLst>
          </p:cNvPr>
          <p:cNvCxnSpPr>
            <a:cxnSpLocks/>
          </p:cNvCxnSpPr>
          <p:nvPr userDrawn="1"/>
        </p:nvCxnSpPr>
        <p:spPr>
          <a:xfrm>
            <a:off x="436563" y="385812"/>
            <a:ext cx="1297221" cy="0"/>
          </a:xfrm>
          <a:prstGeom prst="line">
            <a:avLst/>
          </a:prstGeom>
          <a:noFill/>
          <a:ln w="22225" cap="flat">
            <a:solidFill>
              <a:schemeClr val="accent1"/>
            </a:solidFill>
            <a:prstDash val="solid"/>
            <a:miter lim="400000"/>
          </a:ln>
          <a:effectLst/>
          <a:sp3d/>
        </p:spPr>
      </p:cxnSp>
      <p:sp>
        <p:nvSpPr>
          <p:cNvPr id="20" name="Marcador de título 19">
            <a:extLst>
              <a:ext uri="{FF2B5EF4-FFF2-40B4-BE49-F238E27FC236}">
                <a16:creationId xmlns="" xmlns:a16="http://schemas.microsoft.com/office/drawing/2014/main" id="{A54FB77B-4F90-D9EF-BADA-C2F6113F5D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261" y="496570"/>
            <a:ext cx="9792000" cy="6084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s-ES" dirty="0"/>
              <a:t>Título Arial Regular 20</a:t>
            </a:r>
            <a:br>
              <a:rPr lang="es-ES" dirty="0"/>
            </a:br>
            <a:endParaRPr lang="es-ES" dirty="0"/>
          </a:p>
        </p:txBody>
      </p:sp>
      <p:sp>
        <p:nvSpPr>
          <p:cNvPr id="21" name="Marcador de texto 20">
            <a:extLst>
              <a:ext uri="{FF2B5EF4-FFF2-40B4-BE49-F238E27FC236}">
                <a16:creationId xmlns="" xmlns:a16="http://schemas.microsoft.com/office/drawing/2014/main" id="{3A844869-5447-4C2B-8287-C19B6DF6EC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7579" y="1562832"/>
            <a:ext cx="11336433" cy="460301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180975" lvl="0" indent="-180975"/>
            <a:r>
              <a:rPr lang="es-ES" dirty="0"/>
              <a:t>Haga clic para modificar los estilos de texto del patrón</a:t>
            </a:r>
          </a:p>
          <a:p>
            <a:pPr marL="357188" lvl="1" indent="-176213"/>
            <a:r>
              <a:rPr lang="es-ES" dirty="0"/>
              <a:t>Segundo nivel</a:t>
            </a:r>
          </a:p>
          <a:p>
            <a:pPr marL="538163" lvl="2" indent="-180975"/>
            <a:r>
              <a:rPr lang="es-ES" dirty="0"/>
              <a:t>Tercer nivel</a:t>
            </a:r>
          </a:p>
          <a:p>
            <a:pPr marL="719138" lvl="3" indent="-180975"/>
            <a:r>
              <a:rPr lang="es-ES" dirty="0"/>
              <a:t>Cuarto nivel</a:t>
            </a:r>
          </a:p>
          <a:p>
            <a:pPr marL="896938" lvl="4" indent="-177800"/>
            <a:r>
              <a:rPr lang="es-ES" dirty="0"/>
              <a:t>Quinto nivel</a:t>
            </a:r>
            <a:endParaRPr lang="es-CL" dirty="0"/>
          </a:p>
        </p:txBody>
      </p:sp>
      <p:sp>
        <p:nvSpPr>
          <p:cNvPr id="31" name="Marcador de número de diapositiva 23">
            <a:extLst>
              <a:ext uri="{FF2B5EF4-FFF2-40B4-BE49-F238E27FC236}">
                <a16:creationId xmlns="" xmlns:a16="http://schemas.microsoft.com/office/drawing/2014/main" id="{832595A6-04B9-5CB5-FC4C-B92263D41A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31291" y="6474653"/>
            <a:ext cx="505443" cy="234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B90B3AC-360D-4C0F-BB2D-EFC963FB8AB1}" type="slidenum">
              <a:rPr lang="es-CL" smtClean="0">
                <a:solidFill>
                  <a:srgbClr val="000000"/>
                </a:solidFill>
              </a:rPr>
              <a:pPr/>
              <a:t>‹Nº›</a:t>
            </a:fld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32" name="Marcador de pie de página 2">
            <a:extLst>
              <a:ext uri="{FF2B5EF4-FFF2-40B4-BE49-F238E27FC236}">
                <a16:creationId xmlns="" xmlns:a16="http://schemas.microsoft.com/office/drawing/2014/main" id="{1E9659C6-FF96-0824-B9C3-D5B47FA10C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7578" y="6474653"/>
            <a:ext cx="10953109" cy="23429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es-CL" dirty="0">
              <a:solidFill>
                <a:srgbClr val="000000"/>
              </a:solidFill>
            </a:endParaRPr>
          </a:p>
        </p:txBody>
      </p:sp>
      <p:pic>
        <p:nvPicPr>
          <p:cNvPr id="34" name="Gráfico 7">
            <a:extLst>
              <a:ext uri="{FF2B5EF4-FFF2-40B4-BE49-F238E27FC236}">
                <a16:creationId xmlns="" xmlns:a16="http://schemas.microsoft.com/office/drawing/2014/main" id="{FDEC0ABD-6C88-E5D1-ED52-F3677C45D7F8}"/>
              </a:ext>
            </a:extLst>
          </p:cNvPr>
          <p:cNvPicPr>
            <a:picLocks noChangeAspect="1"/>
          </p:cNvPicPr>
          <p:nvPr userDrawn="1"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9"/>
              </a:ext>
            </a:extLst>
          </a:blip>
          <a:stretch>
            <a:fillRect/>
          </a:stretch>
        </p:blipFill>
        <p:spPr>
          <a:xfrm>
            <a:off x="10559444" y="367977"/>
            <a:ext cx="1224570" cy="506827"/>
          </a:xfrm>
          <a:prstGeom prst="rect">
            <a:avLst/>
          </a:prstGeom>
        </p:spPr>
      </p:pic>
      <p:sp>
        <p:nvSpPr>
          <p:cNvPr id="52" name="Círculo">
            <a:extLst>
              <a:ext uri="{FF2B5EF4-FFF2-40B4-BE49-F238E27FC236}">
                <a16:creationId xmlns="" xmlns:a16="http://schemas.microsoft.com/office/drawing/2014/main" id="{67F123AF-3418-CD01-A636-AEBDFD32BE7D}"/>
              </a:ext>
            </a:extLst>
          </p:cNvPr>
          <p:cNvSpPr/>
          <p:nvPr userDrawn="1"/>
        </p:nvSpPr>
        <p:spPr>
          <a:xfrm>
            <a:off x="-1841728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0</a:t>
            </a:r>
          </a:p>
          <a:p>
            <a:pPr defTabSz="412750"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0</a:t>
            </a:r>
          </a:p>
          <a:p>
            <a:pPr defTabSz="412750"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0</a:t>
            </a:r>
          </a:p>
        </p:txBody>
      </p:sp>
      <p:sp>
        <p:nvSpPr>
          <p:cNvPr id="53" name="Círculo">
            <a:extLst>
              <a:ext uri="{FF2B5EF4-FFF2-40B4-BE49-F238E27FC236}">
                <a16:creationId xmlns="" xmlns:a16="http://schemas.microsoft.com/office/drawing/2014/main" id="{B379EE92-FC6D-694B-393C-5211BF945D3E}"/>
              </a:ext>
            </a:extLst>
          </p:cNvPr>
          <p:cNvSpPr/>
          <p:nvPr userDrawn="1"/>
        </p:nvSpPr>
        <p:spPr>
          <a:xfrm>
            <a:off x="-1232410" y="385201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dirty="0">
                <a:ea typeface="Arial"/>
                <a:cs typeface="Arial"/>
                <a:sym typeface="Arial"/>
              </a:rPr>
              <a:t>R 234</a:t>
            </a:r>
          </a:p>
          <a:p>
            <a:pPr defTabSz="412750"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dirty="0">
                <a:ea typeface="Arial"/>
                <a:cs typeface="Arial"/>
                <a:sym typeface="Arial"/>
              </a:rPr>
              <a:t>G 234</a:t>
            </a:r>
          </a:p>
          <a:p>
            <a:pPr defTabSz="412750"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dirty="0">
                <a:ea typeface="Arial"/>
                <a:cs typeface="Arial"/>
                <a:sym typeface="Arial"/>
              </a:rPr>
              <a:t>B 222</a:t>
            </a:r>
            <a:endParaRPr sz="800" dirty="0">
              <a:ea typeface="Arial"/>
              <a:cs typeface="Arial"/>
              <a:sym typeface="Arial"/>
            </a:endParaRPr>
          </a:p>
        </p:txBody>
      </p:sp>
      <p:sp>
        <p:nvSpPr>
          <p:cNvPr id="54" name="Círculo">
            <a:extLst>
              <a:ext uri="{FF2B5EF4-FFF2-40B4-BE49-F238E27FC236}">
                <a16:creationId xmlns="" xmlns:a16="http://schemas.microsoft.com/office/drawing/2014/main" id="{FE4169A0-295E-427F-5DB5-7BCBC8CF4469}"/>
              </a:ext>
            </a:extLst>
          </p:cNvPr>
          <p:cNvSpPr/>
          <p:nvPr userDrawn="1"/>
        </p:nvSpPr>
        <p:spPr>
          <a:xfrm>
            <a:off x="-621291" y="385201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6</a:t>
            </a:r>
          </a:p>
          <a:p>
            <a:pPr defTabSz="412750"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55</a:t>
            </a:r>
          </a:p>
          <a:p>
            <a:pPr defTabSz="412750"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5" name="Círculo">
            <a:extLst>
              <a:ext uri="{FF2B5EF4-FFF2-40B4-BE49-F238E27FC236}">
                <a16:creationId xmlns="" xmlns:a16="http://schemas.microsoft.com/office/drawing/2014/main" id="{3F032DAC-D4C0-2FF5-3316-09E5B8694499}"/>
              </a:ext>
            </a:extLst>
          </p:cNvPr>
          <p:cNvSpPr/>
          <p:nvPr userDrawn="1"/>
        </p:nvSpPr>
        <p:spPr>
          <a:xfrm>
            <a:off x="-1843005" y="2925985"/>
            <a:ext cx="493539" cy="493239"/>
          </a:xfrm>
          <a:prstGeom prst="ellipse">
            <a:avLst/>
          </a:prstGeom>
          <a:solidFill>
            <a:srgbClr val="FC952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252</a:t>
            </a:r>
          </a:p>
          <a:p>
            <a:pPr defTabSz="412750"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49</a:t>
            </a:r>
          </a:p>
          <a:p>
            <a:pPr defTabSz="412750"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46</a:t>
            </a:r>
          </a:p>
        </p:txBody>
      </p:sp>
      <p:sp>
        <p:nvSpPr>
          <p:cNvPr id="56" name="Rectángulo 55">
            <a:extLst>
              <a:ext uri="{FF2B5EF4-FFF2-40B4-BE49-F238E27FC236}">
                <a16:creationId xmlns="" xmlns:a16="http://schemas.microsoft.com/office/drawing/2014/main" id="{28DBAAE0-9E07-BDBA-B3A2-8F33E561BFB0}"/>
              </a:ext>
            </a:extLst>
          </p:cNvPr>
          <p:cNvSpPr/>
          <p:nvPr userDrawn="1"/>
        </p:nvSpPr>
        <p:spPr>
          <a:xfrm>
            <a:off x="-1892756" y="2669783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>
              <a:spcBef>
                <a:spcPts val="0"/>
              </a:spcBef>
            </a:pPr>
            <a:r>
              <a:rPr lang="es-ES" sz="1000" dirty="0">
                <a:ea typeface="Helvetica Neue Medium"/>
                <a:cs typeface="Helvetica Neue Medium"/>
                <a:sym typeface="Helvetica Neue Medium"/>
              </a:rPr>
              <a:t>Meta</a:t>
            </a:r>
            <a:endParaRPr lang="es-CL" sz="1000" dirty="0"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7" name="Círculo">
            <a:extLst>
              <a:ext uri="{FF2B5EF4-FFF2-40B4-BE49-F238E27FC236}">
                <a16:creationId xmlns="" xmlns:a16="http://schemas.microsoft.com/office/drawing/2014/main" id="{1C53349F-C271-ACB3-FA20-F1F408AEE342}"/>
              </a:ext>
            </a:extLst>
          </p:cNvPr>
          <p:cNvSpPr/>
          <p:nvPr userDrawn="1"/>
        </p:nvSpPr>
        <p:spPr>
          <a:xfrm>
            <a:off x="-1841728" y="2925985"/>
            <a:ext cx="493539" cy="493239"/>
          </a:xfrm>
          <a:prstGeom prst="ellipse">
            <a:avLst/>
          </a:prstGeom>
          <a:solidFill>
            <a:srgbClr val="FC952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252</a:t>
            </a:r>
          </a:p>
          <a:p>
            <a:pPr defTabSz="412750"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49</a:t>
            </a:r>
          </a:p>
          <a:p>
            <a:pPr defTabSz="412750"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46</a:t>
            </a:r>
          </a:p>
        </p:txBody>
      </p:sp>
      <p:sp>
        <p:nvSpPr>
          <p:cNvPr id="58" name="Círculo">
            <a:extLst>
              <a:ext uri="{FF2B5EF4-FFF2-40B4-BE49-F238E27FC236}">
                <a16:creationId xmlns="" xmlns:a16="http://schemas.microsoft.com/office/drawing/2014/main" id="{1E4CF4FB-7117-AC0E-BEC5-3F11BD83BF8F}"/>
              </a:ext>
            </a:extLst>
          </p:cNvPr>
          <p:cNvSpPr/>
          <p:nvPr userDrawn="1"/>
        </p:nvSpPr>
        <p:spPr>
          <a:xfrm>
            <a:off x="-1841728" y="3715362"/>
            <a:ext cx="493539" cy="493239"/>
          </a:xfrm>
          <a:prstGeom prst="ellipse">
            <a:avLst/>
          </a:prstGeom>
          <a:solidFill>
            <a:srgbClr val="969696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50</a:t>
            </a:r>
          </a:p>
          <a:p>
            <a:pPr defTabSz="412750"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50</a:t>
            </a:r>
          </a:p>
          <a:p>
            <a:pPr defTabSz="412750"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50</a:t>
            </a:r>
          </a:p>
        </p:txBody>
      </p:sp>
      <p:sp>
        <p:nvSpPr>
          <p:cNvPr id="59" name="Rectángulo 58">
            <a:extLst>
              <a:ext uri="{FF2B5EF4-FFF2-40B4-BE49-F238E27FC236}">
                <a16:creationId xmlns="" xmlns:a16="http://schemas.microsoft.com/office/drawing/2014/main" id="{DA2E5E78-709C-6BCD-6E11-58923CE21CDF}"/>
              </a:ext>
            </a:extLst>
          </p:cNvPr>
          <p:cNvSpPr/>
          <p:nvPr userDrawn="1"/>
        </p:nvSpPr>
        <p:spPr>
          <a:xfrm>
            <a:off x="-1892756" y="3459160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>
              <a:spcBef>
                <a:spcPts val="0"/>
              </a:spcBef>
            </a:pPr>
            <a:r>
              <a:rPr lang="es-ES" sz="1000" dirty="0">
                <a:ea typeface="Helvetica Neue Medium"/>
                <a:cs typeface="Helvetica Neue Medium"/>
                <a:sym typeface="Helvetica Neue Medium"/>
              </a:rPr>
              <a:t>Años anteriores</a:t>
            </a:r>
            <a:endParaRPr lang="es-CL" sz="1000" dirty="0"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0" name="Rectángulo 59">
            <a:extLst>
              <a:ext uri="{FF2B5EF4-FFF2-40B4-BE49-F238E27FC236}">
                <a16:creationId xmlns="" xmlns:a16="http://schemas.microsoft.com/office/drawing/2014/main" id="{70F140E7-9772-A38F-279B-52E77D1C3CB8}"/>
              </a:ext>
            </a:extLst>
          </p:cNvPr>
          <p:cNvSpPr/>
          <p:nvPr userDrawn="1"/>
        </p:nvSpPr>
        <p:spPr>
          <a:xfrm>
            <a:off x="-1892756" y="424853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>
              <a:spcBef>
                <a:spcPts val="0"/>
              </a:spcBef>
            </a:pPr>
            <a:r>
              <a:rPr lang="es-ES" sz="1000" dirty="0">
                <a:ea typeface="Helvetica Neue Medium"/>
                <a:cs typeface="Helvetica Neue Medium"/>
                <a:sym typeface="Helvetica Neue Medium"/>
              </a:rPr>
              <a:t>Años actual</a:t>
            </a:r>
            <a:endParaRPr lang="es-CL" sz="1000" dirty="0"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1" name="Rectángulo 60">
            <a:extLst>
              <a:ext uri="{FF2B5EF4-FFF2-40B4-BE49-F238E27FC236}">
                <a16:creationId xmlns="" xmlns:a16="http://schemas.microsoft.com/office/drawing/2014/main" id="{BBE48E80-4061-E99A-55AC-E94154AD7987}"/>
              </a:ext>
            </a:extLst>
          </p:cNvPr>
          <p:cNvSpPr/>
          <p:nvPr userDrawn="1"/>
        </p:nvSpPr>
        <p:spPr>
          <a:xfrm>
            <a:off x="-1892756" y="511073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>
              <a:spcBef>
                <a:spcPts val="0"/>
              </a:spcBef>
            </a:pPr>
            <a:r>
              <a:rPr lang="es-ES" sz="1000" dirty="0">
                <a:ea typeface="Helvetica Neue Medium"/>
                <a:cs typeface="Helvetica Neue Medium"/>
                <a:sym typeface="Helvetica Neue Medium"/>
              </a:rPr>
              <a:t>Unidades de medida</a:t>
            </a:r>
            <a:endParaRPr lang="es-CL" sz="1000" dirty="0"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2" name="CuadroTexto 61">
            <a:extLst>
              <a:ext uri="{FF2B5EF4-FFF2-40B4-BE49-F238E27FC236}">
                <a16:creationId xmlns="" xmlns:a16="http://schemas.microsoft.com/office/drawing/2014/main" id="{FEB5DFF8-EDDD-DC5D-D0C3-113C1D35CEA3}"/>
              </a:ext>
            </a:extLst>
          </p:cNvPr>
          <p:cNvSpPr txBox="1"/>
          <p:nvPr userDrawn="1"/>
        </p:nvSpPr>
        <p:spPr>
          <a:xfrm>
            <a:off x="-1838731" y="5327003"/>
            <a:ext cx="1135535" cy="3519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s-CL" sz="1100" dirty="0"/>
              <a:t>XX MM$</a:t>
            </a:r>
          </a:p>
          <a:p>
            <a:endParaRPr lang="es-CL" sz="1200" dirty="0"/>
          </a:p>
        </p:txBody>
      </p:sp>
      <p:sp>
        <p:nvSpPr>
          <p:cNvPr id="63" name="Rectángulo 62">
            <a:extLst>
              <a:ext uri="{FF2B5EF4-FFF2-40B4-BE49-F238E27FC236}">
                <a16:creationId xmlns="" xmlns:a16="http://schemas.microsoft.com/office/drawing/2014/main" id="{E346D4BE-3DA6-0295-2565-114E949768C4}"/>
              </a:ext>
            </a:extLst>
          </p:cNvPr>
          <p:cNvSpPr/>
          <p:nvPr userDrawn="1"/>
        </p:nvSpPr>
        <p:spPr>
          <a:xfrm>
            <a:off x="-1892756" y="5619819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>
              <a:spcBef>
                <a:spcPts val="0"/>
              </a:spcBef>
            </a:pPr>
            <a:r>
              <a:rPr lang="es-ES" sz="1000" dirty="0">
                <a:ea typeface="Helvetica Neue Medium"/>
                <a:cs typeface="Helvetica Neue Medium"/>
                <a:sym typeface="Helvetica Neue Medium"/>
              </a:rPr>
              <a:t>¿Cómo escribir un pie de página?</a:t>
            </a:r>
            <a:endParaRPr lang="es-CL" sz="1000" dirty="0"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4" name="Rectángulo 63">
            <a:extLst>
              <a:ext uri="{FF2B5EF4-FFF2-40B4-BE49-F238E27FC236}">
                <a16:creationId xmlns="" xmlns:a16="http://schemas.microsoft.com/office/drawing/2014/main" id="{7EE3EE48-AC04-0F4B-646B-D4C4CFFC37A7}"/>
              </a:ext>
            </a:extLst>
          </p:cNvPr>
          <p:cNvSpPr/>
          <p:nvPr userDrawn="1"/>
        </p:nvSpPr>
        <p:spPr>
          <a:xfrm>
            <a:off x="-1892756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>
              <a:spcBef>
                <a:spcPts val="0"/>
              </a:spcBef>
            </a:pPr>
            <a:r>
              <a:rPr lang="es-ES" sz="1000" dirty="0">
                <a:ea typeface="Helvetica Neue Medium"/>
                <a:cs typeface="Helvetica Neue Medium"/>
                <a:sym typeface="Helvetica Neue Medium"/>
              </a:rPr>
              <a:t>Transversales </a:t>
            </a:r>
            <a:endParaRPr lang="es-CL" sz="1000" dirty="0"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5" name="CuadroTexto 64">
            <a:extLst>
              <a:ext uri="{FF2B5EF4-FFF2-40B4-BE49-F238E27FC236}">
                <a16:creationId xmlns="" xmlns:a16="http://schemas.microsoft.com/office/drawing/2014/main" id="{1A8C27A4-2B0A-94C6-B229-A24DCE3B085B}"/>
              </a:ext>
            </a:extLst>
          </p:cNvPr>
          <p:cNvSpPr txBox="1"/>
          <p:nvPr userDrawn="1"/>
        </p:nvSpPr>
        <p:spPr>
          <a:xfrm>
            <a:off x="-1851660" y="5942963"/>
            <a:ext cx="1722106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400" hangingPunct="1">
              <a:lnSpc>
                <a:spcPct val="100000"/>
              </a:lnSpc>
              <a:spcBef>
                <a:spcPts val="0"/>
              </a:spcBef>
              <a:defRPr/>
            </a:pPr>
            <a:r>
              <a:rPr lang="es-CL" sz="1050" dirty="0"/>
              <a:t>(1) Achs; (2) Achs; (3) Achs</a:t>
            </a:r>
          </a:p>
          <a:p>
            <a:endParaRPr lang="es-CL" sz="1050" dirty="0"/>
          </a:p>
        </p:txBody>
      </p:sp>
      <p:sp>
        <p:nvSpPr>
          <p:cNvPr id="66" name="Rectángulo 65">
            <a:extLst>
              <a:ext uri="{FF2B5EF4-FFF2-40B4-BE49-F238E27FC236}">
                <a16:creationId xmlns="" xmlns:a16="http://schemas.microsoft.com/office/drawing/2014/main" id="{5D700805-865F-F74D-A6EC-3717453F91CB}"/>
              </a:ext>
            </a:extLst>
          </p:cNvPr>
          <p:cNvSpPr/>
          <p:nvPr userDrawn="1"/>
        </p:nvSpPr>
        <p:spPr>
          <a:xfrm>
            <a:off x="-1892756" y="86574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>
              <a:spcBef>
                <a:spcPts val="0"/>
              </a:spcBef>
            </a:pPr>
            <a:r>
              <a:rPr lang="es-ES" sz="1000" dirty="0" err="1"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dirty="0"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dirty="0"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67" name="Círculo">
            <a:extLst>
              <a:ext uri="{FF2B5EF4-FFF2-40B4-BE49-F238E27FC236}">
                <a16:creationId xmlns="" xmlns:a16="http://schemas.microsoft.com/office/drawing/2014/main" id="{6B0A7D2B-7729-3C9E-030D-F07D288B3C1C}"/>
              </a:ext>
            </a:extLst>
          </p:cNvPr>
          <p:cNvSpPr/>
          <p:nvPr userDrawn="1"/>
        </p:nvSpPr>
        <p:spPr>
          <a:xfrm>
            <a:off x="-1841728" y="1126061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8" name="Círculo">
            <a:extLst>
              <a:ext uri="{FF2B5EF4-FFF2-40B4-BE49-F238E27FC236}">
                <a16:creationId xmlns="" xmlns:a16="http://schemas.microsoft.com/office/drawing/2014/main" id="{88EF2449-2A49-499E-6F80-C48E8C65AE89}"/>
              </a:ext>
            </a:extLst>
          </p:cNvPr>
          <p:cNvSpPr/>
          <p:nvPr userDrawn="1"/>
        </p:nvSpPr>
        <p:spPr>
          <a:xfrm>
            <a:off x="-1232410" y="1126580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69" name="Círculo">
            <a:extLst>
              <a:ext uri="{FF2B5EF4-FFF2-40B4-BE49-F238E27FC236}">
                <a16:creationId xmlns="" xmlns:a16="http://schemas.microsoft.com/office/drawing/2014/main" id="{41C49AC9-6BF7-E83C-A8F1-CD272DD365B6}"/>
              </a:ext>
            </a:extLst>
          </p:cNvPr>
          <p:cNvSpPr/>
          <p:nvPr userDrawn="1"/>
        </p:nvSpPr>
        <p:spPr>
          <a:xfrm>
            <a:off x="-1841728" y="1798860"/>
            <a:ext cx="493538" cy="493239"/>
          </a:xfrm>
          <a:prstGeom prst="ellipse">
            <a:avLst/>
          </a:prstGeom>
          <a:solidFill>
            <a:srgbClr val="81D877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9</a:t>
            </a:r>
          </a:p>
          <a:p>
            <a:pPr defTabSz="412750"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16</a:t>
            </a:r>
          </a:p>
          <a:p>
            <a:pPr defTabSz="412750"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19</a:t>
            </a:r>
            <a:endParaRPr sz="80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0" name="Círculo">
            <a:extLst>
              <a:ext uri="{FF2B5EF4-FFF2-40B4-BE49-F238E27FC236}">
                <a16:creationId xmlns="" xmlns:a16="http://schemas.microsoft.com/office/drawing/2014/main" id="{93F27D3D-8F44-FD61-1DAD-F4236E27CBC9}"/>
              </a:ext>
            </a:extLst>
          </p:cNvPr>
          <p:cNvSpPr/>
          <p:nvPr userDrawn="1"/>
        </p:nvSpPr>
        <p:spPr>
          <a:xfrm>
            <a:off x="-1232410" y="1799378"/>
            <a:ext cx="493539" cy="493239"/>
          </a:xfrm>
          <a:prstGeom prst="ellipse">
            <a:avLst/>
          </a:prstGeom>
          <a:solidFill>
            <a:srgbClr val="27933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39</a:t>
            </a:r>
          </a:p>
          <a:p>
            <a:pPr defTabSz="412750"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147</a:t>
            </a:r>
          </a:p>
          <a:p>
            <a:pPr defTabSz="412750"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62</a:t>
            </a:r>
            <a:endParaRPr sz="80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71" name="Círculo">
            <a:extLst>
              <a:ext uri="{FF2B5EF4-FFF2-40B4-BE49-F238E27FC236}">
                <a16:creationId xmlns="" xmlns:a16="http://schemas.microsoft.com/office/drawing/2014/main" id="{6B0A7D2B-7729-3C9E-030D-F07D288B3C1C}"/>
              </a:ext>
            </a:extLst>
          </p:cNvPr>
          <p:cNvSpPr/>
          <p:nvPr userDrawn="1"/>
        </p:nvSpPr>
        <p:spPr>
          <a:xfrm>
            <a:off x="-1841728" y="4509368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2" name="Rectángulo 71">
            <a:extLst>
              <a:ext uri="{FF2B5EF4-FFF2-40B4-BE49-F238E27FC236}">
                <a16:creationId xmlns="" xmlns:a16="http://schemas.microsoft.com/office/drawing/2014/main" id="{BE59B478-5DBC-324F-BC54-24A62693B07E}"/>
              </a:ext>
            </a:extLst>
          </p:cNvPr>
          <p:cNvSpPr/>
          <p:nvPr userDrawn="1"/>
        </p:nvSpPr>
        <p:spPr>
          <a:xfrm>
            <a:off x="-1892756" y="1630561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>
              <a:spcBef>
                <a:spcPts val="0"/>
              </a:spcBef>
            </a:pPr>
            <a:r>
              <a:rPr lang="es-ES" sz="1000" dirty="0">
                <a:ea typeface="Helvetica Neue Medium"/>
                <a:cs typeface="Helvetica Neue Medium"/>
                <a:sym typeface="Helvetica Neue Medium"/>
              </a:rPr>
              <a:t>Complementarios</a:t>
            </a:r>
            <a:endParaRPr lang="es-CL" sz="1000" dirty="0"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26052798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  <p:sldLayoutId id="2147483696" r:id="rId17"/>
    <p:sldLayoutId id="2147483697" r:id="rId18"/>
    <p:sldLayoutId id="2147483698" r:id="rId19"/>
    <p:sldLayoutId id="2147483699" r:id="rId20"/>
    <p:sldLayoutId id="2147483700" r:id="rId21"/>
    <p:sldLayoutId id="2147483701" r:id="rId22"/>
    <p:sldLayoutId id="2147483702" r:id="rId23"/>
    <p:sldLayoutId id="2147483703" r:id="rId24"/>
    <p:sldLayoutId id="2147483704" r:id="rId25"/>
    <p:sldLayoutId id="2147483705" r:id="rId26"/>
    <p:sldLayoutId id="2147483706" r:id="rId27"/>
    <p:sldLayoutId id="2147483707" r:id="rId28"/>
    <p:sldLayoutId id="2147483708" r:id="rId29"/>
    <p:sldLayoutId id="2147483709" r:id="rId30"/>
    <p:sldLayoutId id="2147483710" r:id="rId31"/>
    <p:sldLayoutId id="2147483711" r:id="rId32"/>
    <p:sldLayoutId id="2147483712" r:id="rId33"/>
    <p:sldLayoutId id="2147483713" r:id="rId34"/>
    <p:sldLayoutId id="2147483714" r:id="rId35"/>
    <p:sldLayoutId id="2147483715" r:id="rId36"/>
    <p:sldLayoutId id="2147483716" r:id="rId37"/>
    <p:sldLayoutId id="2147483717" r:id="rId38"/>
    <p:sldLayoutId id="2147483718" r:id="rId39"/>
    <p:sldLayoutId id="2147483719" r:id="rId40"/>
    <p:sldLayoutId id="2147483720" r:id="rId41"/>
    <p:sldLayoutId id="2147483721" r:id="rId42"/>
    <p:sldLayoutId id="2147483722" r:id="rId43"/>
    <p:sldLayoutId id="2147483723" r:id="rId44"/>
    <p:sldLayoutId id="2147483724" r:id="rId45"/>
    <p:sldLayoutId id="2147483725" r:id="rId46"/>
    <p:sldLayoutId id="2147483726" r:id="rId47"/>
    <p:sldLayoutId id="2147483727" r:id="rId48"/>
    <p:sldLayoutId id="2147483728" r:id="rId49"/>
    <p:sldLayoutId id="2147483729" r:id="rId50"/>
    <p:sldLayoutId id="2147483730" r:id="rId51"/>
    <p:sldLayoutId id="2147483731" r:id="rId5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s-ES" sz="2000" b="1" i="0" u="none" strike="noStrike" kern="1200" cap="none" spc="0" normalizeH="0" baseline="0" dirty="0" smtClean="0">
          <a:ln>
            <a:noFill/>
          </a:ln>
          <a:solidFill>
            <a:schemeClr val="accent1"/>
          </a:solidFill>
          <a:effectLst/>
          <a:uLnTx/>
          <a:uFillTx/>
          <a:latin typeface="Arial" panose="020B0604020202020204" pitchFamily="34" charset="0"/>
          <a:ea typeface="+mn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lang="es-ES" sz="1400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66725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‒"/>
        <a:defRPr lang="es-ES" sz="1400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42938" indent="-28575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lang="es-ES" sz="1400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23913" indent="-28575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lang="es-ES" sz="1400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04888" indent="-28575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q"/>
        <a:defRPr lang="es-CL" sz="1400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81">
          <p15:clr>
            <a:srgbClr val="F26B43"/>
          </p15:clr>
        </p15:guide>
        <p15:guide id="2" pos="279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232">
          <p15:clr>
            <a:srgbClr val="F26B43"/>
          </p15:clr>
        </p15:guide>
        <p15:guide id="6" orient="horz" pos="300">
          <p15:clr>
            <a:srgbClr val="F26B43"/>
          </p15:clr>
        </p15:guide>
        <p15:guide id="7" orient="horz" pos="4065">
          <p15:clr>
            <a:srgbClr val="F26B43"/>
          </p15:clr>
        </p15:guide>
        <p15:guide id="8" orient="horz" pos="822">
          <p15:clr>
            <a:srgbClr val="F26B43"/>
          </p15:clr>
        </p15:guide>
        <p15:guide id="9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="" xmlns:a16="http://schemas.microsoft.com/office/drawing/2014/main" id="{7E22C0DD-7EC0-CB13-19EE-F05783A24E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328405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6" name="Diapositiva de think-cell" r:id="rId16" imgW="395" imgH="396" progId="TCLayout.ActiveDocument.1">
                  <p:embed/>
                </p:oleObj>
              </mc:Choice>
              <mc:Fallback>
                <p:oleObj name="Diapositiva de think-cell" r:id="rId16" imgW="395" imgH="396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="" xmlns:a16="http://schemas.microsoft.com/office/drawing/2014/main" id="{7E22C0DD-7EC0-CB13-19EE-F05783A24E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Círculo">
            <a:extLst>
              <a:ext uri="{FF2B5EF4-FFF2-40B4-BE49-F238E27FC236}">
                <a16:creationId xmlns="" xmlns:a16="http://schemas.microsoft.com/office/drawing/2014/main" id="{67F123AF-3418-CD01-A636-AEBDFD32BE7D}"/>
              </a:ext>
            </a:extLst>
          </p:cNvPr>
          <p:cNvSpPr/>
          <p:nvPr userDrawn="1"/>
        </p:nvSpPr>
        <p:spPr>
          <a:xfrm>
            <a:off x="-1841728" y="384450"/>
            <a:ext cx="493539" cy="493239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</a:t>
            </a: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0" name="Círculo">
            <a:extLst>
              <a:ext uri="{FF2B5EF4-FFF2-40B4-BE49-F238E27FC236}">
                <a16:creationId xmlns="" xmlns:a16="http://schemas.microsoft.com/office/drawing/2014/main" id="{B379EE92-FC6D-694B-393C-5211BF945D3E}"/>
              </a:ext>
            </a:extLst>
          </p:cNvPr>
          <p:cNvSpPr/>
          <p:nvPr userDrawn="1"/>
        </p:nvSpPr>
        <p:spPr>
          <a:xfrm>
            <a:off x="-1232410" y="385201"/>
            <a:ext cx="491737" cy="491737"/>
          </a:xfrm>
          <a:prstGeom prst="ellipse">
            <a:avLst/>
          </a:prstGeom>
          <a:solidFill>
            <a:srgbClr val="EAEAD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R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G 234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B 222</a:t>
            </a:r>
            <a:endParaRPr sz="800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4" name="Círculo">
            <a:extLst>
              <a:ext uri="{FF2B5EF4-FFF2-40B4-BE49-F238E27FC236}">
                <a16:creationId xmlns="" xmlns:a16="http://schemas.microsoft.com/office/drawing/2014/main" id="{FE4169A0-295E-427F-5DB5-7BCBC8CF4469}"/>
              </a:ext>
            </a:extLst>
          </p:cNvPr>
          <p:cNvSpPr/>
          <p:nvPr userDrawn="1"/>
        </p:nvSpPr>
        <p:spPr>
          <a:xfrm>
            <a:off x="-621291" y="385201"/>
            <a:ext cx="491737" cy="491737"/>
          </a:xfrm>
          <a:prstGeom prst="ellipse">
            <a:avLst/>
          </a:prstGeom>
          <a:solidFill>
            <a:srgbClr val="7EFF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55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D5D5D5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" name="Círculo">
            <a:extLst>
              <a:ext uri="{FF2B5EF4-FFF2-40B4-BE49-F238E27FC236}">
                <a16:creationId xmlns="" xmlns:a16="http://schemas.microsoft.com/office/drawing/2014/main" id="{3F032DAC-D4C0-2FF5-3316-09E5B8694499}"/>
              </a:ext>
            </a:extLst>
          </p:cNvPr>
          <p:cNvSpPr/>
          <p:nvPr userDrawn="1"/>
        </p:nvSpPr>
        <p:spPr>
          <a:xfrm>
            <a:off x="-1843005" y="2925985"/>
            <a:ext cx="493539" cy="493239"/>
          </a:xfrm>
          <a:prstGeom prst="ellipse">
            <a:avLst/>
          </a:prstGeom>
          <a:solidFill>
            <a:srgbClr val="FC952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252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149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46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="" xmlns:a16="http://schemas.microsoft.com/office/drawing/2014/main" id="{28DBAAE0-9E07-BDBA-B3A2-8F33E561BFB0}"/>
              </a:ext>
            </a:extLst>
          </p:cNvPr>
          <p:cNvSpPr/>
          <p:nvPr userDrawn="1"/>
        </p:nvSpPr>
        <p:spPr>
          <a:xfrm>
            <a:off x="-1892756" y="2669783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chemeClr val="tx1"/>
                </a:solidFill>
                <a:ea typeface="Helvetica Neue Medium"/>
                <a:cs typeface="Helvetica Neue Medium"/>
                <a:sym typeface="Helvetica Neue Medium"/>
              </a:rPr>
              <a:t>Meta</a:t>
            </a:r>
            <a:endParaRPr lang="es-CL" sz="1000" kern="0" dirty="0">
              <a:solidFill>
                <a:schemeClr val="tx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" name="Círculo">
            <a:extLst>
              <a:ext uri="{FF2B5EF4-FFF2-40B4-BE49-F238E27FC236}">
                <a16:creationId xmlns="" xmlns:a16="http://schemas.microsoft.com/office/drawing/2014/main" id="{1C53349F-C271-ACB3-FA20-F1F408AEE342}"/>
              </a:ext>
            </a:extLst>
          </p:cNvPr>
          <p:cNvSpPr/>
          <p:nvPr userDrawn="1"/>
        </p:nvSpPr>
        <p:spPr>
          <a:xfrm>
            <a:off x="-1841728" y="2925985"/>
            <a:ext cx="493539" cy="493239"/>
          </a:xfrm>
          <a:prstGeom prst="ellipse">
            <a:avLst/>
          </a:prstGeom>
          <a:solidFill>
            <a:srgbClr val="FC952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252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149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46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" name="Círculo">
            <a:extLst>
              <a:ext uri="{FF2B5EF4-FFF2-40B4-BE49-F238E27FC236}">
                <a16:creationId xmlns="" xmlns:a16="http://schemas.microsoft.com/office/drawing/2014/main" id="{1E4CF4FB-7117-AC0E-BEC5-3F11BD83BF8F}"/>
              </a:ext>
            </a:extLst>
          </p:cNvPr>
          <p:cNvSpPr/>
          <p:nvPr userDrawn="1"/>
        </p:nvSpPr>
        <p:spPr>
          <a:xfrm>
            <a:off x="-1841728" y="3715362"/>
            <a:ext cx="493539" cy="493239"/>
          </a:xfrm>
          <a:prstGeom prst="ellipse">
            <a:avLst/>
          </a:prstGeom>
          <a:solidFill>
            <a:srgbClr val="969696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15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15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es-ES" sz="800" kern="0" baseline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 150</a:t>
            </a:r>
            <a:endParaRPr lang="es-ES"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="" xmlns:a16="http://schemas.microsoft.com/office/drawing/2014/main" id="{DA2E5E78-709C-6BCD-6E11-58923CE21CDF}"/>
              </a:ext>
            </a:extLst>
          </p:cNvPr>
          <p:cNvSpPr/>
          <p:nvPr userDrawn="1"/>
        </p:nvSpPr>
        <p:spPr>
          <a:xfrm>
            <a:off x="-1892756" y="3459160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chemeClr val="tx1"/>
                </a:solidFill>
                <a:ea typeface="Helvetica Neue Medium"/>
                <a:cs typeface="Helvetica Neue Medium"/>
                <a:sym typeface="Helvetica Neue Medium"/>
              </a:rPr>
              <a:t>Años anteriores</a:t>
            </a:r>
            <a:endParaRPr lang="es-CL" sz="1000" kern="0" dirty="0">
              <a:solidFill>
                <a:schemeClr val="tx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="" xmlns:a16="http://schemas.microsoft.com/office/drawing/2014/main" id="{70F140E7-9772-A38F-279B-52E77D1C3CB8}"/>
              </a:ext>
            </a:extLst>
          </p:cNvPr>
          <p:cNvSpPr/>
          <p:nvPr userDrawn="1"/>
        </p:nvSpPr>
        <p:spPr>
          <a:xfrm>
            <a:off x="-1892756" y="424853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chemeClr val="tx1"/>
                </a:solidFill>
                <a:ea typeface="Helvetica Neue Medium"/>
                <a:cs typeface="Helvetica Neue Medium"/>
                <a:sym typeface="Helvetica Neue Medium"/>
              </a:rPr>
              <a:t>Años actual</a:t>
            </a:r>
            <a:endParaRPr lang="es-CL" sz="1000" kern="0" dirty="0">
              <a:solidFill>
                <a:schemeClr val="tx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="" xmlns:a16="http://schemas.microsoft.com/office/drawing/2014/main" id="{BBE48E80-4061-E99A-55AC-E94154AD7987}"/>
              </a:ext>
            </a:extLst>
          </p:cNvPr>
          <p:cNvSpPr/>
          <p:nvPr userDrawn="1"/>
        </p:nvSpPr>
        <p:spPr>
          <a:xfrm>
            <a:off x="-1892756" y="5110737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chemeClr val="tx1"/>
                </a:solidFill>
                <a:ea typeface="Helvetica Neue Medium"/>
                <a:cs typeface="Helvetica Neue Medium"/>
                <a:sym typeface="Helvetica Neue Medium"/>
              </a:rPr>
              <a:t>Unidades de medida</a:t>
            </a:r>
            <a:endParaRPr lang="es-CL" sz="1000" kern="0" dirty="0">
              <a:solidFill>
                <a:schemeClr val="tx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="" xmlns:a16="http://schemas.microsoft.com/office/drawing/2014/main" id="{FEB5DFF8-EDDD-DC5D-D0C3-113C1D35CEA3}"/>
              </a:ext>
            </a:extLst>
          </p:cNvPr>
          <p:cNvSpPr txBox="1"/>
          <p:nvPr userDrawn="1"/>
        </p:nvSpPr>
        <p:spPr>
          <a:xfrm>
            <a:off x="-1838731" y="5327003"/>
            <a:ext cx="1135535" cy="3519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s-CL" sz="1100" dirty="0">
                <a:solidFill>
                  <a:schemeClr val="tx1"/>
                </a:solidFill>
              </a:rPr>
              <a:t>XX MM$</a:t>
            </a:r>
          </a:p>
          <a:p>
            <a:pPr algn="l"/>
            <a:endParaRPr lang="es-CL" sz="1200" dirty="0">
              <a:solidFill>
                <a:schemeClr val="tx1"/>
              </a:solidFill>
            </a:endParaRPr>
          </a:p>
        </p:txBody>
      </p:sp>
      <p:sp>
        <p:nvSpPr>
          <p:cNvPr id="13" name="Rectángulo 12">
            <a:extLst>
              <a:ext uri="{FF2B5EF4-FFF2-40B4-BE49-F238E27FC236}">
                <a16:creationId xmlns="" xmlns:a16="http://schemas.microsoft.com/office/drawing/2014/main" id="{E346D4BE-3DA6-0295-2565-114E949768C4}"/>
              </a:ext>
            </a:extLst>
          </p:cNvPr>
          <p:cNvSpPr/>
          <p:nvPr userDrawn="1"/>
        </p:nvSpPr>
        <p:spPr>
          <a:xfrm>
            <a:off x="-1892756" y="5619819"/>
            <a:ext cx="1872000" cy="216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chemeClr val="tx1"/>
                </a:solidFill>
                <a:ea typeface="Helvetica Neue Medium"/>
                <a:cs typeface="Helvetica Neue Medium"/>
                <a:sym typeface="Helvetica Neue Medium"/>
              </a:rPr>
              <a:t>¿Cómo escribir un pie de página?</a:t>
            </a:r>
            <a:endParaRPr lang="es-CL" sz="1000" kern="0" dirty="0">
              <a:solidFill>
                <a:schemeClr val="tx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8" name="Rectángulo 27">
            <a:extLst>
              <a:ext uri="{FF2B5EF4-FFF2-40B4-BE49-F238E27FC236}">
                <a16:creationId xmlns="" xmlns:a16="http://schemas.microsoft.com/office/drawing/2014/main" id="{7EE3EE48-AC04-0F4B-646B-D4C4CFFC37A7}"/>
              </a:ext>
            </a:extLst>
          </p:cNvPr>
          <p:cNvSpPr/>
          <p:nvPr userDrawn="1"/>
        </p:nvSpPr>
        <p:spPr>
          <a:xfrm>
            <a:off x="-1892756" y="129594"/>
            <a:ext cx="1620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rgbClr val="000000"/>
                </a:solidFill>
                <a:ea typeface="Helvetica Neue Medium"/>
                <a:cs typeface="Helvetica Neue Medium"/>
                <a:sym typeface="Helvetica Neue Medium"/>
              </a:rPr>
              <a:t>Transversales</a:t>
            </a:r>
            <a:r>
              <a:rPr lang="es-ES" sz="1000" kern="0" baseline="0" dirty="0">
                <a:solidFill>
                  <a:srgbClr val="000000"/>
                </a:solidFill>
                <a:ea typeface="Helvetica Neue Medium"/>
                <a:cs typeface="Helvetica Neue Medium"/>
                <a:sym typeface="Helvetica Neue Medium"/>
              </a:rPr>
              <a:t> </a:t>
            </a:r>
            <a:endParaRPr lang="es-CL" sz="1000" kern="0" dirty="0">
              <a:solidFill>
                <a:srgbClr val="000000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9" name="CuadroTexto 28">
            <a:extLst>
              <a:ext uri="{FF2B5EF4-FFF2-40B4-BE49-F238E27FC236}">
                <a16:creationId xmlns="" xmlns:a16="http://schemas.microsoft.com/office/drawing/2014/main" id="{1A8C27A4-2B0A-94C6-B229-A24DCE3B085B}"/>
              </a:ext>
            </a:extLst>
          </p:cNvPr>
          <p:cNvSpPr txBox="1"/>
          <p:nvPr userDrawn="1"/>
        </p:nvSpPr>
        <p:spPr>
          <a:xfrm>
            <a:off x="-1851660" y="5942963"/>
            <a:ext cx="1722106" cy="23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1050" dirty="0">
                <a:solidFill>
                  <a:schemeClr val="tx1"/>
                </a:solidFill>
              </a:rPr>
              <a:t>(1) Achs; (2) Achs; (3) Achs</a:t>
            </a:r>
          </a:p>
          <a:p>
            <a:pPr algn="l"/>
            <a:endParaRPr lang="es-CL" sz="1050" dirty="0">
              <a:solidFill>
                <a:schemeClr val="tx1"/>
              </a:solidFill>
            </a:endParaRPr>
          </a:p>
        </p:txBody>
      </p:sp>
      <p:sp>
        <p:nvSpPr>
          <p:cNvPr id="27" name="Rectángulo 26">
            <a:extLst>
              <a:ext uri="{FF2B5EF4-FFF2-40B4-BE49-F238E27FC236}">
                <a16:creationId xmlns="" xmlns:a16="http://schemas.microsoft.com/office/drawing/2014/main" id="{5D700805-865F-F74D-A6EC-3717453F91CB}"/>
              </a:ext>
            </a:extLst>
          </p:cNvPr>
          <p:cNvSpPr/>
          <p:nvPr userDrawn="1"/>
        </p:nvSpPr>
        <p:spPr>
          <a:xfrm>
            <a:off x="-1892756" y="865746"/>
            <a:ext cx="1872000" cy="2734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 err="1">
                <a:solidFill>
                  <a:schemeClr val="tx1"/>
                </a:solidFill>
                <a:ea typeface="Helvetica Neue Medium"/>
                <a:cs typeface="Helvetica Neue Medium"/>
                <a:sym typeface="Helvetica Neue Medium"/>
              </a:rPr>
              <a:t>Masterbrand</a:t>
            </a:r>
            <a:r>
              <a:rPr lang="es-CL" sz="1000" kern="0" dirty="0">
                <a:solidFill>
                  <a:schemeClr val="tx1"/>
                </a:solidFill>
                <a:ea typeface="Helvetica Neue Medium"/>
                <a:cs typeface="Helvetica Neue Medium"/>
                <a:sym typeface="Helvetica Neue Medium"/>
              </a:rPr>
              <a:t> y Laboral</a:t>
            </a:r>
            <a:endParaRPr lang="es-ES" sz="1000" kern="0" dirty="0">
              <a:solidFill>
                <a:schemeClr val="tx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3" name="Círculo">
            <a:extLst>
              <a:ext uri="{FF2B5EF4-FFF2-40B4-BE49-F238E27FC236}">
                <a16:creationId xmlns="" xmlns:a16="http://schemas.microsoft.com/office/drawing/2014/main" id="{6B0A7D2B-7729-3C9E-030D-F07D288B3C1C}"/>
              </a:ext>
            </a:extLst>
          </p:cNvPr>
          <p:cNvSpPr/>
          <p:nvPr userDrawn="1"/>
        </p:nvSpPr>
        <p:spPr>
          <a:xfrm>
            <a:off x="-1841728" y="1126061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4" name="Círculo">
            <a:extLst>
              <a:ext uri="{FF2B5EF4-FFF2-40B4-BE49-F238E27FC236}">
                <a16:creationId xmlns="" xmlns:a16="http://schemas.microsoft.com/office/drawing/2014/main" id="{88EF2449-2A49-499E-6F80-C48E8C65AE89}"/>
              </a:ext>
            </a:extLst>
          </p:cNvPr>
          <p:cNvSpPr/>
          <p:nvPr userDrawn="1"/>
        </p:nvSpPr>
        <p:spPr>
          <a:xfrm>
            <a:off x="-1232410" y="1126580"/>
            <a:ext cx="493539" cy="493239"/>
          </a:xfrm>
          <a:prstGeom prst="ellipse">
            <a:avLst/>
          </a:prstGeom>
          <a:solidFill>
            <a:srgbClr val="004C14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0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7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20</a:t>
            </a:r>
            <a:endParaRPr sz="80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40" name="Círculo">
            <a:extLst>
              <a:ext uri="{FF2B5EF4-FFF2-40B4-BE49-F238E27FC236}">
                <a16:creationId xmlns="" xmlns:a16="http://schemas.microsoft.com/office/drawing/2014/main" id="{41C49AC9-6BF7-E83C-A8F1-CD272DD365B6}"/>
              </a:ext>
            </a:extLst>
          </p:cNvPr>
          <p:cNvSpPr/>
          <p:nvPr userDrawn="1"/>
        </p:nvSpPr>
        <p:spPr>
          <a:xfrm>
            <a:off x="-1841728" y="1798860"/>
            <a:ext cx="493538" cy="493239"/>
          </a:xfrm>
          <a:prstGeom prst="ellipse">
            <a:avLst/>
          </a:prstGeom>
          <a:solidFill>
            <a:srgbClr val="81D877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2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216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11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42" name="Círculo">
            <a:extLst>
              <a:ext uri="{FF2B5EF4-FFF2-40B4-BE49-F238E27FC236}">
                <a16:creationId xmlns="" xmlns:a16="http://schemas.microsoft.com/office/drawing/2014/main" id="{93F27D3D-8F44-FD61-1DAD-F4236E27CBC9}"/>
              </a:ext>
            </a:extLst>
          </p:cNvPr>
          <p:cNvSpPr/>
          <p:nvPr userDrawn="1"/>
        </p:nvSpPr>
        <p:spPr>
          <a:xfrm>
            <a:off x="-1232410" y="1799378"/>
            <a:ext cx="493539" cy="493239"/>
          </a:xfrm>
          <a:prstGeom prst="ellipse">
            <a:avLst/>
          </a:prstGeom>
          <a:solidFill>
            <a:srgbClr val="27933E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R 3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G 147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r>
              <a:rPr lang="es-ES" sz="800" kern="0" dirty="0">
                <a:solidFill>
                  <a:srgbClr val="FFFFFF"/>
                </a:solidFill>
                <a:latin typeface="Helvetica Neue Medium"/>
                <a:ea typeface="Helvetica Neue Medium"/>
                <a:cs typeface="Arial" panose="020B0604020202020204" pitchFamily="34" charset="0"/>
                <a:sym typeface="Helvetica Neue Medium"/>
              </a:rPr>
              <a:t>B 62</a:t>
            </a:r>
            <a:endParaRPr sz="800" kern="0" dirty="0">
              <a:solidFill>
                <a:srgbClr val="FFFFFF"/>
              </a:solidFill>
              <a:latin typeface="Helvetica Neue Medium"/>
              <a:ea typeface="Helvetica Neue Medium"/>
              <a:cs typeface="Arial" panose="020B0604020202020204" pitchFamily="34" charset="0"/>
              <a:sym typeface="Helvetica Neue Medium"/>
            </a:endParaRPr>
          </a:p>
        </p:txBody>
      </p:sp>
      <p:sp>
        <p:nvSpPr>
          <p:cNvPr id="44" name="Círculo">
            <a:extLst>
              <a:ext uri="{FF2B5EF4-FFF2-40B4-BE49-F238E27FC236}">
                <a16:creationId xmlns="" xmlns:a16="http://schemas.microsoft.com/office/drawing/2014/main" id="{6B0A7D2B-7729-3C9E-030D-F07D288B3C1C}"/>
              </a:ext>
            </a:extLst>
          </p:cNvPr>
          <p:cNvSpPr/>
          <p:nvPr userDrawn="1"/>
        </p:nvSpPr>
        <p:spPr>
          <a:xfrm>
            <a:off x="-1841728" y="4509368"/>
            <a:ext cx="493538" cy="493239"/>
          </a:xfrm>
          <a:prstGeom prst="ellipse">
            <a:avLst/>
          </a:prstGeom>
          <a:solidFill>
            <a:srgbClr val="13C045"/>
          </a:solidFill>
          <a:ln w="12700">
            <a:miter lim="400000"/>
          </a:ln>
        </p:spPr>
        <p:txBody>
          <a:bodyPr wrap="none" lIns="25400" tIns="25400" rIns="25400" bIns="25400" anchor="t"/>
          <a:lstStyle/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R 19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G 192</a:t>
            </a:r>
          </a:p>
          <a:p>
            <a:pPr defTabSz="412750" hangingPunct="0">
              <a:lnSpc>
                <a:spcPct val="90000"/>
              </a:lnSpc>
              <a:spcBef>
                <a:spcPts val="0"/>
              </a:spcBef>
              <a:defRPr sz="32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es-ES" sz="800" kern="0" dirty="0">
                <a:solidFill>
                  <a:srgbClr val="FFFFFF"/>
                </a:solidFill>
                <a:ea typeface="Arial"/>
                <a:cs typeface="Arial"/>
                <a:sym typeface="Arial"/>
              </a:rPr>
              <a:t>B 69</a:t>
            </a:r>
            <a:endParaRPr sz="800" kern="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="" xmlns:a16="http://schemas.microsoft.com/office/drawing/2014/main" id="{BE59B478-5DBC-324F-BC54-24A62693B07E}"/>
              </a:ext>
            </a:extLst>
          </p:cNvPr>
          <p:cNvSpPr/>
          <p:nvPr userDrawn="1"/>
        </p:nvSpPr>
        <p:spPr>
          <a:xfrm>
            <a:off x="-1892756" y="1630561"/>
            <a:ext cx="1872000" cy="167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defTabSz="825500" hangingPunct="0">
              <a:spcBef>
                <a:spcPts val="0"/>
              </a:spcBef>
            </a:pPr>
            <a:r>
              <a:rPr lang="es-ES" sz="1000" kern="0" dirty="0">
                <a:solidFill>
                  <a:schemeClr val="tx1"/>
                </a:solidFill>
                <a:ea typeface="Helvetica Neue Medium"/>
                <a:cs typeface="Helvetica Neue Medium"/>
                <a:sym typeface="Helvetica Neue Medium"/>
              </a:rPr>
              <a:t>Complementarios</a:t>
            </a:r>
            <a:endParaRPr lang="es-CL" sz="1000" kern="0" dirty="0">
              <a:solidFill>
                <a:schemeClr val="tx1"/>
              </a:solidFill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40550201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  <p:sldLayoutId id="2147483773" r:id="rId11"/>
    <p:sldLayoutId id="2147483774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s-ES" sz="2000" b="0" i="0" u="none" strike="noStrike" kern="1200" cap="none" spc="0" normalizeH="0" baseline="0" dirty="0" smtClean="0">
          <a:ln>
            <a:noFill/>
          </a:ln>
          <a:solidFill>
            <a:srgbClr val="15BF45"/>
          </a:solidFill>
          <a:effectLst/>
          <a:uLnTx/>
          <a:uFillTx/>
          <a:latin typeface="Arial" panose="020B0604020202020204" pitchFamily="34" charset="0"/>
          <a:ea typeface="+mn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81">
          <p15:clr>
            <a:srgbClr val="F26B43"/>
          </p15:clr>
        </p15:guide>
        <p15:guide id="2" pos="279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orient="horz" pos="232">
          <p15:clr>
            <a:srgbClr val="F26B43"/>
          </p15:clr>
        </p15:guide>
        <p15:guide id="6" orient="horz" pos="323">
          <p15:clr>
            <a:srgbClr val="F26B43"/>
          </p15:clr>
        </p15:guide>
        <p15:guide id="7" orient="horz" pos="406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6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2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7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8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9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90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91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texto 3">
            <a:extLst>
              <a:ext uri="{FF2B5EF4-FFF2-40B4-BE49-F238E27FC236}">
                <a16:creationId xmlns="" xmlns:a16="http://schemas.microsoft.com/office/drawing/2014/main" id="{91F9BECC-E3D5-F74A-8CCA-F19AB6986DF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7127" y="1248665"/>
            <a:ext cx="9768422" cy="1300367"/>
          </a:xfrm>
        </p:spPr>
        <p:txBody>
          <a:bodyPr>
            <a:noAutofit/>
          </a:bodyPr>
          <a:lstStyle/>
          <a:p>
            <a:pPr rtl="0"/>
            <a:r>
              <a:rPr lang="es-ES_tradnl" sz="5400" dirty="0">
                <a:highlight>
                  <a:srgbClr val="13C045"/>
                </a:highlight>
              </a:rPr>
              <a:t>REVISIÓN POR LA DIRECCIÓN</a:t>
            </a:r>
          </a:p>
          <a:p>
            <a:pPr rtl="0"/>
            <a:endParaRPr lang="es-ES_tradnl" sz="5400" dirty="0"/>
          </a:p>
          <a:p>
            <a:pPr rtl="0"/>
            <a:r>
              <a:rPr lang="es-ES_tradnl" sz="2400" dirty="0">
                <a:highlight>
                  <a:srgbClr val="13C045"/>
                </a:highlight>
              </a:rPr>
              <a:t>Fecha: [00/00/0000</a:t>
            </a:r>
            <a:r>
              <a:rPr lang="es-ES_tradnl" sz="2400" dirty="0" smtClean="0">
                <a:highlight>
                  <a:srgbClr val="13C045"/>
                </a:highlight>
              </a:rPr>
              <a:t>]</a:t>
            </a:r>
          </a:p>
          <a:p>
            <a:pPr rtl="0"/>
            <a:r>
              <a:rPr lang="es-ES_tradnl" sz="2800" dirty="0" smtClean="0">
                <a:highlight>
                  <a:srgbClr val="13C045"/>
                </a:highlight>
              </a:rPr>
              <a:t>[</a:t>
            </a:r>
            <a:r>
              <a:rPr lang="es-ES_tradnl" sz="2800" dirty="0">
                <a:highlight>
                  <a:srgbClr val="13C045"/>
                </a:highlight>
              </a:rPr>
              <a:t>Nombre del Líder del </a:t>
            </a:r>
            <a:r>
              <a:rPr lang="es-ES_tradnl" sz="2800" dirty="0" smtClean="0">
                <a:highlight>
                  <a:srgbClr val="13C045"/>
                </a:highlight>
              </a:rPr>
              <a:t>SG] </a:t>
            </a:r>
            <a:endParaRPr lang="es-ES_tradnl" sz="2800" dirty="0">
              <a:highlight>
                <a:srgbClr val="13C045"/>
              </a:highlight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2EAB9A13-9CEA-4148-989D-FB7030A90997}"/>
              </a:ext>
            </a:extLst>
          </p:cNvPr>
          <p:cNvSpPr/>
          <p:nvPr/>
        </p:nvSpPr>
        <p:spPr>
          <a:xfrm>
            <a:off x="10721787" y="361243"/>
            <a:ext cx="1335741" cy="933589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s-ES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rPr>
              <a:t>Logo </a:t>
            </a:r>
            <a:r>
              <a:rPr kumimoji="0" lang="es-ES" b="0" i="0" u="none" strike="noStrike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rPr>
              <a:t>entidad empleadora</a:t>
            </a:r>
            <a:endParaRPr kumimoji="0" lang="es-CL" b="0" i="0" u="none" strike="noStrike" cap="none" spc="0" normalizeH="0" baseline="0" dirty="0">
              <a:ln>
                <a:noFill/>
              </a:ln>
              <a:solidFill>
                <a:schemeClr val="tx1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="" xmlns:a16="http://schemas.microsoft.com/office/drawing/2014/main" id="{CBCC0667-1763-4EA7-9482-363EA599CB88}"/>
              </a:ext>
            </a:extLst>
          </p:cNvPr>
          <p:cNvSpPr/>
          <p:nvPr/>
        </p:nvSpPr>
        <p:spPr>
          <a:xfrm>
            <a:off x="10721786" y="5847736"/>
            <a:ext cx="1335741" cy="933589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s-ES" sz="16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rPr>
              <a:t>Nombre</a:t>
            </a:r>
            <a:r>
              <a:rPr kumimoji="0" lang="es-ES" sz="18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rPr>
              <a:t> de la </a:t>
            </a:r>
            <a:r>
              <a:rPr kumimoji="0" lang="es-ES" sz="1800" b="0" i="0" u="none" strike="noStrike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rPr>
              <a:t>entidad empleadora</a:t>
            </a:r>
            <a:endParaRPr kumimoji="0" lang="es-CL" sz="1800" b="0" i="0" u="none" strike="noStrike" cap="none" spc="0" normalizeH="0" baseline="0" dirty="0">
              <a:ln>
                <a:noFill/>
              </a:ln>
              <a:solidFill>
                <a:schemeClr val="tx1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277877207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texto 16">
            <a:extLst>
              <a:ext uri="{FF2B5EF4-FFF2-40B4-BE49-F238E27FC236}">
                <a16:creationId xmlns="" xmlns:a16="http://schemas.microsoft.com/office/drawing/2014/main" id="{A20C9D70-C4FA-4861-F636-EB40457508CA}"/>
              </a:ext>
            </a:extLst>
          </p:cNvPr>
          <p:cNvSpPr txBox="1">
            <a:spLocks/>
          </p:cNvSpPr>
          <p:nvPr/>
        </p:nvSpPr>
        <p:spPr>
          <a:xfrm>
            <a:off x="449263" y="326559"/>
            <a:ext cx="7667126" cy="41291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b="1" dirty="0">
                <a:solidFill>
                  <a:srgbClr val="13C045"/>
                </a:solidFill>
              </a:rPr>
              <a:t>Proceso de gestión de riesgos de desastres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="" xmlns:a16="http://schemas.microsoft.com/office/drawing/2014/main" id="{328A1CE2-BA4D-3BB2-BF72-7C99CCED321E}"/>
              </a:ext>
            </a:extLst>
          </p:cNvPr>
          <p:cNvSpPr txBox="1"/>
          <p:nvPr/>
        </p:nvSpPr>
        <p:spPr>
          <a:xfrm>
            <a:off x="726142" y="1050820"/>
            <a:ext cx="10461811" cy="558717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t">
            <a:spAutoFit/>
          </a:bodyPr>
          <a:lstStyle/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La implementación del proceso de gestión de riesgos de desastres, cuenta con los siguientes resultados:</a:t>
            </a: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  <a:p>
            <a:pPr marL="285750" indent="-285750" algn="just" defTabSz="2438338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s-ES" sz="18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Indicador 1</a:t>
            </a: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Descripción del indicador y método de cálculo</a:t>
            </a: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  <a:cs typeface="Arial"/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bg1">
                    <a:lumMod val="65000"/>
                  </a:schemeClr>
                </a:solidFill>
              </a:rPr>
              <a:t>[Nombre indicador] = [Resultado Indicador]</a:t>
            </a: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marL="285750" indent="-285750" algn="just" defTabSz="2438338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s-ES" sz="18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Indicador n</a:t>
            </a: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Descripción del indicador y método de cálculo</a:t>
            </a: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  <a:cs typeface="Arial"/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bg1">
                    <a:lumMod val="65000"/>
                  </a:schemeClr>
                </a:solidFill>
              </a:rPr>
              <a:t>[Nombre indicador] = [Resultado Indicador]</a:t>
            </a: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r>
              <a:rPr lang="es-ES" sz="18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Análisis sobre los resultados:</a:t>
            </a: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bg1">
                    <a:lumMod val="65000"/>
                  </a:schemeClr>
                </a:solidFill>
              </a:rPr>
              <a:t>[Descripción del análisis desarrollado]</a:t>
            </a: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marR="0" algn="just" defTabSz="2438338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endParaRPr kumimoji="0" lang="es-ES" sz="1800" b="0" i="0" u="none" strike="noStrike" cap="none" spc="0" normalizeH="0" baseline="0" dirty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uFillTx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752371400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texto 16">
            <a:extLst>
              <a:ext uri="{FF2B5EF4-FFF2-40B4-BE49-F238E27FC236}">
                <a16:creationId xmlns="" xmlns:a16="http://schemas.microsoft.com/office/drawing/2014/main" id="{0674ED42-80A6-B738-BCC3-D2D544A1FC89}"/>
              </a:ext>
            </a:extLst>
          </p:cNvPr>
          <p:cNvSpPr txBox="1">
            <a:spLocks/>
          </p:cNvSpPr>
          <p:nvPr/>
        </p:nvSpPr>
        <p:spPr>
          <a:xfrm>
            <a:off x="449263" y="326559"/>
            <a:ext cx="7667126" cy="41291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b="1" dirty="0">
                <a:solidFill>
                  <a:srgbClr val="13C045"/>
                </a:solidFill>
              </a:rPr>
              <a:t>Proceso de investigación de incidentes y análisis de EP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="" xmlns:a16="http://schemas.microsoft.com/office/drawing/2014/main" id="{2487F2D6-402D-74D6-C477-D2D8885BCE83}"/>
              </a:ext>
            </a:extLst>
          </p:cNvPr>
          <p:cNvSpPr txBox="1"/>
          <p:nvPr/>
        </p:nvSpPr>
        <p:spPr>
          <a:xfrm>
            <a:off x="726142" y="1050820"/>
            <a:ext cx="10461811" cy="558717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t">
            <a:spAutoFit/>
          </a:bodyPr>
          <a:lstStyle/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La implementación del proceso de investigación de incidentes y análisis de EP, cuenta con los siguientes resultados:</a:t>
            </a: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  <a:p>
            <a:pPr marL="285750" indent="-285750" algn="just" defTabSz="2438338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s-ES" sz="18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Indicador 1</a:t>
            </a: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Descripción del indicador y método de cálculo</a:t>
            </a: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  <a:cs typeface="Arial"/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bg1">
                    <a:lumMod val="65000"/>
                  </a:schemeClr>
                </a:solidFill>
              </a:rPr>
              <a:t>[Nombre indicador] = [Resultado Indicador]</a:t>
            </a: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marL="285750" indent="-285750" algn="just" defTabSz="2438338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s-ES" sz="18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Indicador n</a:t>
            </a: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Descripción del indicador y método de cálculo</a:t>
            </a: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  <a:cs typeface="Arial"/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bg1">
                    <a:lumMod val="65000"/>
                  </a:schemeClr>
                </a:solidFill>
              </a:rPr>
              <a:t>[Nombre indicador] = [Resultado Indicador]</a:t>
            </a: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r>
              <a:rPr lang="es-ES" sz="18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Análisis sobre los resultados:</a:t>
            </a: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bg1">
                    <a:lumMod val="65000"/>
                  </a:schemeClr>
                </a:solidFill>
              </a:rPr>
              <a:t>[Descripción del análisis desarrollado]</a:t>
            </a: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marR="0" algn="just" defTabSz="2438338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endParaRPr kumimoji="0" lang="es-ES" sz="1800" b="0" i="0" u="none" strike="noStrike" cap="none" spc="0" normalizeH="0" baseline="0" dirty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uFillTx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115528692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texto 16">
            <a:extLst>
              <a:ext uri="{FF2B5EF4-FFF2-40B4-BE49-F238E27FC236}">
                <a16:creationId xmlns="" xmlns:a16="http://schemas.microsoft.com/office/drawing/2014/main" id="{097C37AE-3AC4-EEA8-E244-67E942062617}"/>
              </a:ext>
            </a:extLst>
          </p:cNvPr>
          <p:cNvSpPr txBox="1">
            <a:spLocks/>
          </p:cNvSpPr>
          <p:nvPr/>
        </p:nvSpPr>
        <p:spPr>
          <a:xfrm>
            <a:off x="449263" y="326559"/>
            <a:ext cx="7667126" cy="41291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CL" b="1" dirty="0">
                <a:solidFill>
                  <a:srgbClr val="13C045"/>
                </a:solidFill>
              </a:rPr>
              <a:t>Proceso de auditoría interna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="" xmlns:a16="http://schemas.microsoft.com/office/drawing/2014/main" id="{AD165819-106E-2620-015F-3A57E872FC8E}"/>
              </a:ext>
            </a:extLst>
          </p:cNvPr>
          <p:cNvSpPr txBox="1"/>
          <p:nvPr/>
        </p:nvSpPr>
        <p:spPr>
          <a:xfrm>
            <a:off x="726142" y="1050820"/>
            <a:ext cx="10461811" cy="558717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t">
            <a:spAutoFit/>
          </a:bodyPr>
          <a:lstStyle/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La implementación del proceso de auditoría interna, cuenta con los siguientes resultados:</a:t>
            </a: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  <a:p>
            <a:pPr marL="285750" indent="-285750" algn="just" defTabSz="2438338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s-ES" sz="18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Resultado de auditorías internas</a:t>
            </a:r>
            <a:endParaRPr lang="es-ES" sz="1800" b="1" dirty="0">
              <a:solidFill>
                <a:schemeClr val="tx1">
                  <a:lumMod val="90000"/>
                  <a:lumOff val="10000"/>
                </a:schemeClr>
              </a:solidFill>
              <a:cs typeface="Arial"/>
            </a:endParaRP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Descripción del indicador y método de cálculo, relacionado con el resultado de las auditorías aplicadas a casa matriz preventiva y a los centros de trabajo.</a:t>
            </a: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  <a:cs typeface="Arial"/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bg1">
                    <a:lumMod val="65000"/>
                  </a:schemeClr>
                </a:solidFill>
              </a:rPr>
              <a:t>[Nombre indicador] = [Resultado Indicador]</a:t>
            </a: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  <a:p>
            <a:pPr marL="285750" indent="-285750" algn="just" defTabSz="2438338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s-ES" sz="18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Indicador 2</a:t>
            </a: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Descripción del indicador y método de cálculo</a:t>
            </a: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  <a:cs typeface="Arial"/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bg1">
                    <a:lumMod val="65000"/>
                  </a:schemeClr>
                </a:solidFill>
              </a:rPr>
              <a:t>[Nombre indicador] = [Resultado Indicador]</a:t>
            </a: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r>
              <a:rPr lang="es-ES" sz="18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Análisis sobre los resultados:</a:t>
            </a: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bg1">
                    <a:lumMod val="65000"/>
                  </a:schemeClr>
                </a:solidFill>
              </a:rPr>
              <a:t>[Descripción del análisis desarrollado]</a:t>
            </a: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marR="0" algn="just" defTabSz="2438338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endParaRPr kumimoji="0" lang="es-ES" sz="1800" b="0" i="0" u="none" strike="noStrike" cap="none" spc="0" normalizeH="0" baseline="0" dirty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uFillTx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370711475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texto 16">
            <a:extLst>
              <a:ext uri="{FF2B5EF4-FFF2-40B4-BE49-F238E27FC236}">
                <a16:creationId xmlns="" xmlns:a16="http://schemas.microsoft.com/office/drawing/2014/main" id="{6D3D803A-39D1-C967-0EC1-4E459F5B7668}"/>
              </a:ext>
            </a:extLst>
          </p:cNvPr>
          <p:cNvSpPr txBox="1">
            <a:spLocks/>
          </p:cNvSpPr>
          <p:nvPr/>
        </p:nvSpPr>
        <p:spPr>
          <a:xfrm>
            <a:off x="449263" y="326559"/>
            <a:ext cx="7667126" cy="41291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b="1" dirty="0">
                <a:solidFill>
                  <a:srgbClr val="13C045"/>
                </a:solidFill>
              </a:rPr>
              <a:t>Proceso de medición y seguimiento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="" xmlns:a16="http://schemas.microsoft.com/office/drawing/2014/main" id="{3FA0064A-E4F7-7BFB-BF56-33291AE8C5CD}"/>
              </a:ext>
            </a:extLst>
          </p:cNvPr>
          <p:cNvSpPr txBox="1"/>
          <p:nvPr/>
        </p:nvSpPr>
        <p:spPr>
          <a:xfrm>
            <a:off x="726142" y="1050820"/>
            <a:ext cx="10461811" cy="53378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t">
            <a:spAutoFit/>
          </a:bodyPr>
          <a:lstStyle/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La implementación del proceso de medición y seguimiento, cuenta con los siguientes resultados:</a:t>
            </a: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  <a:p>
            <a:pPr marL="285750" indent="-285750" algn="just" defTabSz="2438338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s-ES" sz="18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Indicador 1</a:t>
            </a: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Descripción del indicador y método de cálculo</a:t>
            </a: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  <a:cs typeface="Arial"/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bg1">
                    <a:lumMod val="65000"/>
                  </a:schemeClr>
                </a:solidFill>
              </a:rPr>
              <a:t>[Nombre indicador] = [Resultado Indicador]</a:t>
            </a: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marL="285750" indent="-285750" algn="just" defTabSz="2438338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s-ES" sz="18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Indicador n</a:t>
            </a: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Descripción del indicador y método de cálculo</a:t>
            </a: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  <a:cs typeface="Arial"/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bg1">
                    <a:lumMod val="65000"/>
                  </a:schemeClr>
                </a:solidFill>
              </a:rPr>
              <a:t>[Nombre indicador] = [Resultado Indicador]</a:t>
            </a: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r>
              <a:rPr lang="es-ES" sz="18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Análisis sobre los resultados:</a:t>
            </a: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bg1">
                    <a:lumMod val="65000"/>
                  </a:schemeClr>
                </a:solidFill>
              </a:rPr>
              <a:t>[Descripción del análisis desarrollado]</a:t>
            </a: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marR="0" algn="just" defTabSz="2438338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endParaRPr kumimoji="0" lang="es-ES" sz="1800" b="0" i="0" u="none" strike="noStrike" cap="none" spc="0" normalizeH="0" baseline="0" dirty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uFillTx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86141410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texto 16">
            <a:extLst>
              <a:ext uri="{FF2B5EF4-FFF2-40B4-BE49-F238E27FC236}">
                <a16:creationId xmlns="" xmlns:a16="http://schemas.microsoft.com/office/drawing/2014/main" id="{B2DB5594-5803-63CE-0254-381ABBF497B4}"/>
              </a:ext>
            </a:extLst>
          </p:cNvPr>
          <p:cNvSpPr txBox="1">
            <a:spLocks/>
          </p:cNvSpPr>
          <p:nvPr/>
        </p:nvSpPr>
        <p:spPr>
          <a:xfrm>
            <a:off x="449263" y="326559"/>
            <a:ext cx="7667126" cy="41291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b="1" dirty="0">
                <a:solidFill>
                  <a:srgbClr val="13C045"/>
                </a:solidFill>
              </a:rPr>
              <a:t>Conclusiones finales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="" xmlns:a16="http://schemas.microsoft.com/office/drawing/2014/main" id="{230AF8B8-1C1B-776C-9B0C-0C05F80959A9}"/>
              </a:ext>
            </a:extLst>
          </p:cNvPr>
          <p:cNvSpPr txBox="1"/>
          <p:nvPr/>
        </p:nvSpPr>
        <p:spPr>
          <a:xfrm>
            <a:off x="726142" y="1050820"/>
            <a:ext cx="10461811" cy="145988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t">
            <a:spAutoFit/>
          </a:bodyPr>
          <a:lstStyle/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bg1">
                    <a:lumMod val="65000"/>
                  </a:schemeClr>
                </a:solidFill>
              </a:rPr>
              <a:t>[Descripción de las conclusiones y acciones a seguir] </a:t>
            </a: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marR="0" algn="just" defTabSz="2438338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endParaRPr kumimoji="0" lang="es-ES" sz="1800" b="0" i="0" u="none" strike="noStrike" cap="none" spc="0" normalizeH="0" baseline="0" dirty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uFillTx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513909057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texto 3">
            <a:extLst>
              <a:ext uri="{FF2B5EF4-FFF2-40B4-BE49-F238E27FC236}">
                <a16:creationId xmlns="" xmlns:a16="http://schemas.microsoft.com/office/drawing/2014/main" id="{91F9BECC-E3D5-F74A-8CCA-F19AB6986DF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7127" y="1248665"/>
            <a:ext cx="9768422" cy="1300367"/>
          </a:xfrm>
        </p:spPr>
        <p:txBody>
          <a:bodyPr>
            <a:noAutofit/>
          </a:bodyPr>
          <a:lstStyle/>
          <a:p>
            <a:pPr rtl="0"/>
            <a:r>
              <a:rPr lang="es-ES_tradnl" sz="5400" dirty="0">
                <a:highlight>
                  <a:srgbClr val="13C045"/>
                </a:highlight>
              </a:rPr>
              <a:t>REVISIÓN POR LA DIRECCIÓN</a:t>
            </a:r>
          </a:p>
          <a:p>
            <a:pPr rtl="0"/>
            <a:endParaRPr lang="es-ES_tradnl" sz="5400" dirty="0"/>
          </a:p>
          <a:p>
            <a:pPr rtl="0"/>
            <a:r>
              <a:rPr lang="es-ES_tradnl" sz="2400" dirty="0">
                <a:highlight>
                  <a:srgbClr val="13C045"/>
                </a:highlight>
              </a:rPr>
              <a:t>Fecha: [00/00/0000</a:t>
            </a:r>
            <a:r>
              <a:rPr lang="es-ES_tradnl" sz="2400" dirty="0" smtClean="0">
                <a:highlight>
                  <a:srgbClr val="13C045"/>
                </a:highlight>
              </a:rPr>
              <a:t>]</a:t>
            </a:r>
          </a:p>
          <a:p>
            <a:pPr rtl="0"/>
            <a:r>
              <a:rPr lang="es-ES_tradnl" sz="2800" dirty="0" smtClean="0">
                <a:highlight>
                  <a:srgbClr val="13C045"/>
                </a:highlight>
              </a:rPr>
              <a:t>[</a:t>
            </a:r>
            <a:r>
              <a:rPr lang="es-ES_tradnl" sz="2800" dirty="0">
                <a:highlight>
                  <a:srgbClr val="13C045"/>
                </a:highlight>
              </a:rPr>
              <a:t>Nombre del Líder del </a:t>
            </a:r>
            <a:r>
              <a:rPr lang="es-ES_tradnl" sz="2800" dirty="0" smtClean="0">
                <a:highlight>
                  <a:srgbClr val="13C045"/>
                </a:highlight>
              </a:rPr>
              <a:t>SG] </a:t>
            </a:r>
            <a:endParaRPr lang="es-ES_tradnl" sz="2800" dirty="0">
              <a:highlight>
                <a:srgbClr val="13C045"/>
              </a:highlight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2EAB9A13-9CEA-4148-989D-FB7030A90997}"/>
              </a:ext>
            </a:extLst>
          </p:cNvPr>
          <p:cNvSpPr/>
          <p:nvPr/>
        </p:nvSpPr>
        <p:spPr>
          <a:xfrm>
            <a:off x="10721787" y="407409"/>
            <a:ext cx="1335741" cy="84125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s-ES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rPr>
              <a:t>Logo empresa</a:t>
            </a:r>
            <a:endParaRPr kumimoji="0" lang="es-CL" b="0" i="0" u="none" strike="noStrike" cap="none" spc="0" normalizeH="0" baseline="0" dirty="0">
              <a:ln>
                <a:noFill/>
              </a:ln>
              <a:solidFill>
                <a:schemeClr val="tx1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="" xmlns:a16="http://schemas.microsoft.com/office/drawing/2014/main" id="{CBCC0667-1763-4EA7-9482-363EA599CB88}"/>
              </a:ext>
            </a:extLst>
          </p:cNvPr>
          <p:cNvSpPr/>
          <p:nvPr/>
        </p:nvSpPr>
        <p:spPr>
          <a:xfrm>
            <a:off x="10721786" y="6096597"/>
            <a:ext cx="1335741" cy="65659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s-ES" sz="16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rPr>
              <a:t>Nombre</a:t>
            </a:r>
            <a:r>
              <a:rPr kumimoji="0" lang="es-ES" sz="18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rPr>
              <a:t> de la empresa</a:t>
            </a:r>
            <a:endParaRPr kumimoji="0" lang="es-CL" sz="1800" b="0" i="0" u="none" strike="noStrike" cap="none" spc="0" normalizeH="0" baseline="0" dirty="0">
              <a:ln>
                <a:noFill/>
              </a:ln>
              <a:solidFill>
                <a:schemeClr val="tx1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2069832221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23D4D7D2-B6C0-B6DF-F9AD-8507FF97E5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="" xmlns:a16="http://schemas.microsoft.com/office/drawing/2014/main" id="{C9997F1F-CB4B-B408-065F-71DD60C6837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0" name="Diapositiva de think-cell" r:id="rId4" imgW="415" imgH="416" progId="TCLayout.ActiveDocument.1">
                  <p:embed/>
                </p:oleObj>
              </mc:Choice>
              <mc:Fallback>
                <p:oleObj name="Diapositiva de think-cell" r:id="rId4" imgW="415" imgH="416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="" xmlns:a16="http://schemas.microsoft.com/office/drawing/2014/main" id="{C9997F1F-CB4B-B408-065F-71DD60C68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uadroTexto 18">
            <a:extLst>
              <a:ext uri="{FF2B5EF4-FFF2-40B4-BE49-F238E27FC236}">
                <a16:creationId xmlns="" xmlns:a16="http://schemas.microsoft.com/office/drawing/2014/main" id="{6ADB2B60-36E5-9D0B-D536-FA4F4E0AAA10}"/>
              </a:ext>
            </a:extLst>
          </p:cNvPr>
          <p:cNvSpPr txBox="1"/>
          <p:nvPr/>
        </p:nvSpPr>
        <p:spPr>
          <a:xfrm>
            <a:off x="0" y="5627495"/>
            <a:ext cx="5650106" cy="4247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 anchor="ctr">
            <a:spAutoFit/>
          </a:bodyPr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2400" b="1" kern="1200" cap="small" dirty="0">
                <a:solidFill>
                  <a:schemeClr val="bg1"/>
                </a:solidFill>
                <a:latin typeface="Arial" panose="020B0604020202020204"/>
                <a:sym typeface="Helvetica Neue"/>
              </a:rPr>
              <a:t>manual de asesoría</a:t>
            </a:r>
            <a:endParaRPr kumimoji="0" lang="es-ES" sz="2400" b="1" i="0" u="none" strike="noStrike" kern="1200" cap="small" spc="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Helvetica Neue"/>
            </a:endParaRPr>
          </a:p>
        </p:txBody>
      </p:sp>
      <p:sp>
        <p:nvSpPr>
          <p:cNvPr id="5" name="Marcador de texto 16">
            <a:extLst>
              <a:ext uri="{FF2B5EF4-FFF2-40B4-BE49-F238E27FC236}">
                <a16:creationId xmlns="" xmlns:a16="http://schemas.microsoft.com/office/drawing/2014/main" id="{0DBB5AA1-35F6-72FE-E7AE-38B21F95AEDC}"/>
              </a:ext>
            </a:extLst>
          </p:cNvPr>
          <p:cNvSpPr txBox="1">
            <a:spLocks/>
          </p:cNvSpPr>
          <p:nvPr/>
        </p:nvSpPr>
        <p:spPr>
          <a:xfrm>
            <a:off x="449263" y="326559"/>
            <a:ext cx="9991522" cy="41291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b="1" dirty="0">
                <a:solidFill>
                  <a:srgbClr val="13C045"/>
                </a:solidFill>
              </a:rPr>
              <a:t>Consideraciones al confeccionar la presentación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D5FB1DFF-D641-216C-0929-3455B126616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84288" y="1449598"/>
            <a:ext cx="9083827" cy="3853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1625872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7B4A969D-6E95-58F8-23F0-D33776674F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="" xmlns:a16="http://schemas.microsoft.com/office/drawing/2014/main" id="{8C1F22B1-55A4-FA7C-2D60-809D8C3E9EA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4" name="Diapositiva de think-cell" r:id="rId4" imgW="415" imgH="416" progId="TCLayout.ActiveDocument.1">
                  <p:embed/>
                </p:oleObj>
              </mc:Choice>
              <mc:Fallback>
                <p:oleObj name="Diapositiva de think-cell" r:id="rId4" imgW="415" imgH="416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="" xmlns:a16="http://schemas.microsoft.com/office/drawing/2014/main" id="{8C1F22B1-55A4-FA7C-2D60-809D8C3E9E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Marcador de texto 6">
            <a:extLst>
              <a:ext uri="{FF2B5EF4-FFF2-40B4-BE49-F238E27FC236}">
                <a16:creationId xmlns="" xmlns:a16="http://schemas.microsoft.com/office/drawing/2014/main" id="{E8076473-6FAF-2CEA-BB8B-B764E6949A5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80143" y="6009219"/>
            <a:ext cx="10053832" cy="585994"/>
          </a:xfrm>
        </p:spPr>
        <p:txBody>
          <a:bodyPr wrap="square">
            <a:spAutoFit/>
          </a:bodyPr>
          <a:lstStyle/>
          <a:p>
            <a:pPr>
              <a:lnSpc>
                <a:spcPts val="5000"/>
              </a:lnSpc>
            </a:pPr>
            <a:r>
              <a:rPr lang="es-CL" sz="3600" dirty="0"/>
              <a:t>Apoyo ISO 45001</a:t>
            </a:r>
          </a:p>
        </p:txBody>
      </p:sp>
      <p:sp>
        <p:nvSpPr>
          <p:cNvPr id="2" name="Marcador de texto 16">
            <a:extLst>
              <a:ext uri="{FF2B5EF4-FFF2-40B4-BE49-F238E27FC236}">
                <a16:creationId xmlns="" xmlns:a16="http://schemas.microsoft.com/office/drawing/2014/main" id="{BCB44692-8D50-023C-BB10-5D7815042B47}"/>
              </a:ext>
            </a:extLst>
          </p:cNvPr>
          <p:cNvSpPr txBox="1">
            <a:spLocks/>
          </p:cNvSpPr>
          <p:nvPr/>
        </p:nvSpPr>
        <p:spPr>
          <a:xfrm>
            <a:off x="449263" y="326559"/>
            <a:ext cx="7667126" cy="41291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b="1" dirty="0">
                <a:solidFill>
                  <a:srgbClr val="13C045"/>
                </a:solidFill>
              </a:rPr>
              <a:t>Comité de revisión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="" xmlns:a16="http://schemas.microsoft.com/office/drawing/2014/main" id="{A59E6A9A-0358-407E-75F6-399169C4A45B}"/>
              </a:ext>
            </a:extLst>
          </p:cNvPr>
          <p:cNvSpPr txBox="1"/>
          <p:nvPr/>
        </p:nvSpPr>
        <p:spPr>
          <a:xfrm>
            <a:off x="806353" y="1197873"/>
            <a:ext cx="9592864" cy="391902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t">
            <a:spAutoFit/>
          </a:bodyPr>
          <a:lstStyle/>
          <a:p>
            <a:pPr fontAlgn="base">
              <a:spcBef>
                <a:spcPts val="0"/>
              </a:spcBef>
            </a:pPr>
            <a:r>
              <a:rPr lang="es-ES" sz="18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El Comité de revisión designado por la Alta Dirección, con fecha </a:t>
            </a:r>
            <a:r>
              <a:rPr lang="es-ES" sz="1800" dirty="0">
                <a:solidFill>
                  <a:schemeClr val="bg1">
                    <a:lumMod val="65000"/>
                  </a:schemeClr>
                </a:solidFill>
              </a:rPr>
              <a:t>[Fecha de registro del comité en su primera reunión]</a:t>
            </a:r>
            <a:r>
              <a:rPr lang="es-ES" sz="18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, está compuesto por los siguientes responsables:</a:t>
            </a:r>
          </a:p>
          <a:p>
            <a:pPr fontAlgn="base">
              <a:spcBef>
                <a:spcPts val="0"/>
              </a:spcBef>
            </a:pPr>
            <a:endParaRPr lang="es-ES" sz="16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marL="285750" indent="-285750" algn="just" defTabSz="2438338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s-ES" sz="1800" dirty="0">
                <a:solidFill>
                  <a:schemeClr val="bg1">
                    <a:lumMod val="65000"/>
                  </a:schemeClr>
                </a:solidFill>
              </a:rPr>
              <a:t>[Propietario de la </a:t>
            </a:r>
            <a:r>
              <a:rPr lang="es-ES" sz="1800" dirty="0" smtClean="0">
                <a:solidFill>
                  <a:schemeClr val="bg1">
                    <a:lumMod val="65000"/>
                  </a:schemeClr>
                </a:solidFill>
              </a:rPr>
              <a:t>entidad empleadora]</a:t>
            </a:r>
            <a:endParaRPr lang="es-ES" sz="1800" dirty="0">
              <a:solidFill>
                <a:schemeClr val="bg1">
                  <a:lumMod val="65000"/>
                </a:schemeClr>
              </a:solidFill>
            </a:endParaRPr>
          </a:p>
          <a:p>
            <a:pPr marL="285750" indent="-285750" algn="just" defTabSz="2438338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s-ES" sz="1800" dirty="0">
                <a:solidFill>
                  <a:schemeClr val="bg1">
                    <a:lumMod val="65000"/>
                  </a:schemeClr>
                </a:solidFill>
              </a:rPr>
              <a:t>[Presidente de la </a:t>
            </a:r>
            <a:r>
              <a:rPr lang="es-ES" sz="1800" dirty="0" smtClean="0">
                <a:solidFill>
                  <a:schemeClr val="bg1">
                    <a:lumMod val="65000"/>
                  </a:schemeClr>
                </a:solidFill>
              </a:rPr>
              <a:t>entidad empleadora]</a:t>
            </a:r>
            <a:endParaRPr lang="es-ES" sz="1800" dirty="0">
              <a:solidFill>
                <a:schemeClr val="bg1">
                  <a:lumMod val="65000"/>
                </a:schemeClr>
              </a:solidFill>
            </a:endParaRPr>
          </a:p>
          <a:p>
            <a:pPr marL="285750" indent="-285750" algn="just" defTabSz="2438338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s-ES" sz="1800" dirty="0">
                <a:solidFill>
                  <a:schemeClr val="bg1">
                    <a:lumMod val="65000"/>
                  </a:schemeClr>
                </a:solidFill>
              </a:rPr>
              <a:t>[Gerente general]</a:t>
            </a:r>
          </a:p>
          <a:p>
            <a:pPr marL="285750" indent="-285750" algn="just" defTabSz="2438338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s-ES" sz="1800" dirty="0">
                <a:solidFill>
                  <a:schemeClr val="bg1">
                    <a:lumMod val="65000"/>
                  </a:schemeClr>
                </a:solidFill>
              </a:rPr>
              <a:t>[Gerentes y/o directores de distintas áreas o procesos claves]</a:t>
            </a:r>
          </a:p>
          <a:p>
            <a:pPr marL="285750" indent="-285750" algn="just" defTabSz="2438338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s-ES" sz="1800" dirty="0">
                <a:solidFill>
                  <a:schemeClr val="bg1">
                    <a:lumMod val="65000"/>
                  </a:schemeClr>
                </a:solidFill>
              </a:rPr>
              <a:t>[Subgerencias de distintas áreas o procesos claves]</a:t>
            </a:r>
          </a:p>
          <a:p>
            <a:pPr marL="285750" indent="-285750" algn="just" defTabSz="2438338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s-ES" sz="1800" dirty="0">
                <a:solidFill>
                  <a:schemeClr val="bg1">
                    <a:lumMod val="65000"/>
                  </a:schemeClr>
                </a:solidFill>
              </a:rPr>
              <a:t>[Responsable de SST de la </a:t>
            </a:r>
            <a:r>
              <a:rPr lang="es-ES" sz="1800" dirty="0" smtClean="0">
                <a:solidFill>
                  <a:schemeClr val="bg1">
                    <a:lumMod val="65000"/>
                  </a:schemeClr>
                </a:solidFill>
              </a:rPr>
              <a:t>entidad empleadora]</a:t>
            </a:r>
            <a:endParaRPr lang="es-ES" sz="1800" dirty="0">
              <a:solidFill>
                <a:schemeClr val="bg1">
                  <a:lumMod val="65000"/>
                </a:schemeClr>
              </a:solidFill>
            </a:endParaRPr>
          </a:p>
          <a:p>
            <a:pPr marL="285750" indent="-285750" algn="just" defTabSz="2438338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s-ES" sz="1800" dirty="0">
                <a:solidFill>
                  <a:schemeClr val="bg1">
                    <a:lumMod val="65000"/>
                  </a:schemeClr>
                </a:solidFill>
              </a:rPr>
              <a:t>[Otros que la </a:t>
            </a:r>
            <a:r>
              <a:rPr lang="es-ES" sz="1800" dirty="0" smtClean="0">
                <a:solidFill>
                  <a:schemeClr val="bg1">
                    <a:lumMod val="65000"/>
                  </a:schemeClr>
                </a:solidFill>
              </a:rPr>
              <a:t>entidad empleadora </a:t>
            </a:r>
            <a:r>
              <a:rPr lang="es-ES" sz="1800" dirty="0">
                <a:solidFill>
                  <a:schemeClr val="bg1">
                    <a:lumMod val="65000"/>
                  </a:schemeClr>
                </a:solidFill>
              </a:rPr>
              <a:t>considere pertinente]</a:t>
            </a:r>
          </a:p>
        </p:txBody>
      </p:sp>
    </p:spTree>
    <p:extLst>
      <p:ext uri="{BB962C8B-B14F-4D97-AF65-F5344CB8AC3E}">
        <p14:creationId xmlns:p14="http://schemas.microsoft.com/office/powerpoint/2010/main" val="3873809738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E1A4DB66-3BE4-82DD-6AF3-1AEE80538F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="" xmlns:a16="http://schemas.microsoft.com/office/drawing/2014/main" id="{AC4A2A82-98B3-CDDA-33A2-E5B7A9ABF4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8" name="Diapositiva de think-cell" r:id="rId4" imgW="415" imgH="416" progId="TCLayout.ActiveDocument.1">
                  <p:embed/>
                </p:oleObj>
              </mc:Choice>
              <mc:Fallback>
                <p:oleObj name="Diapositiva de think-cell" r:id="rId4" imgW="415" imgH="416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="" xmlns:a16="http://schemas.microsoft.com/office/drawing/2014/main" id="{AC4A2A82-98B3-CDDA-33A2-E5B7A9ABF4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Marcador de texto 6">
            <a:extLst>
              <a:ext uri="{FF2B5EF4-FFF2-40B4-BE49-F238E27FC236}">
                <a16:creationId xmlns="" xmlns:a16="http://schemas.microsoft.com/office/drawing/2014/main" id="{C1091EE5-65F8-18F2-5F02-0999E306211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80143" y="6009219"/>
            <a:ext cx="10053832" cy="585994"/>
          </a:xfrm>
        </p:spPr>
        <p:txBody>
          <a:bodyPr wrap="square">
            <a:spAutoFit/>
          </a:bodyPr>
          <a:lstStyle/>
          <a:p>
            <a:pPr>
              <a:lnSpc>
                <a:spcPts val="5000"/>
              </a:lnSpc>
            </a:pPr>
            <a:r>
              <a:rPr lang="es-CL" sz="3600" dirty="0"/>
              <a:t>Apoyo ISO 45001</a:t>
            </a:r>
          </a:p>
        </p:txBody>
      </p:sp>
      <p:sp>
        <p:nvSpPr>
          <p:cNvPr id="3" name="Marcador de texto 16">
            <a:extLst>
              <a:ext uri="{FF2B5EF4-FFF2-40B4-BE49-F238E27FC236}">
                <a16:creationId xmlns="" xmlns:a16="http://schemas.microsoft.com/office/drawing/2014/main" id="{93B76EBB-B29D-A98A-EF7E-F5BCC9C40D1F}"/>
              </a:ext>
            </a:extLst>
          </p:cNvPr>
          <p:cNvSpPr txBox="1">
            <a:spLocks/>
          </p:cNvSpPr>
          <p:nvPr/>
        </p:nvSpPr>
        <p:spPr>
          <a:xfrm>
            <a:off x="449263" y="326559"/>
            <a:ext cx="7667126" cy="41291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CL" b="1" dirty="0">
                <a:solidFill>
                  <a:srgbClr val="13C045"/>
                </a:solidFill>
              </a:rPr>
              <a:t>Agenda de presentación de resultados</a:t>
            </a:r>
          </a:p>
        </p:txBody>
      </p:sp>
      <p:sp>
        <p:nvSpPr>
          <p:cNvPr id="5" name="CuadroTexto 14">
            <a:extLst>
              <a:ext uri="{FF2B5EF4-FFF2-40B4-BE49-F238E27FC236}">
                <a16:creationId xmlns="" xmlns:a16="http://schemas.microsoft.com/office/drawing/2014/main" id="{1DC4E542-6F7B-FE95-F715-9F77354F4F51}"/>
              </a:ext>
            </a:extLst>
          </p:cNvPr>
          <p:cNvSpPr txBox="1"/>
          <p:nvPr/>
        </p:nvSpPr>
        <p:spPr>
          <a:xfrm>
            <a:off x="5527964" y="1185446"/>
            <a:ext cx="6259484" cy="3236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algn="just" defTabSz="1219169" rtl="0" eaLnBrk="1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s-ES" sz="1600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Política de SST</a:t>
            </a:r>
          </a:p>
        </p:txBody>
      </p:sp>
      <p:cxnSp>
        <p:nvCxnSpPr>
          <p:cNvPr id="7" name="Conector recto 6">
            <a:extLst>
              <a:ext uri="{FF2B5EF4-FFF2-40B4-BE49-F238E27FC236}">
                <a16:creationId xmlns="" xmlns:a16="http://schemas.microsoft.com/office/drawing/2014/main" id="{869D5AB5-4AEE-CDF1-4163-040375632CBB}"/>
              </a:ext>
            </a:extLst>
          </p:cNvPr>
          <p:cNvCxnSpPr/>
          <p:nvPr/>
        </p:nvCxnSpPr>
        <p:spPr>
          <a:xfrm>
            <a:off x="5303520" y="1338349"/>
            <a:ext cx="0" cy="4921135"/>
          </a:xfrm>
          <a:prstGeom prst="line">
            <a:avLst/>
          </a:prstGeom>
          <a:noFill/>
          <a:ln w="25400" cap="flat">
            <a:solidFill>
              <a:srgbClr val="106737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Elipse 7">
            <a:extLst>
              <a:ext uri="{FF2B5EF4-FFF2-40B4-BE49-F238E27FC236}">
                <a16:creationId xmlns="" xmlns:a16="http://schemas.microsoft.com/office/drawing/2014/main" id="{5A2C7431-2CEB-6541-B9CF-DBBC38B6ED1C}"/>
              </a:ext>
            </a:extLst>
          </p:cNvPr>
          <p:cNvSpPr/>
          <p:nvPr/>
        </p:nvSpPr>
        <p:spPr>
          <a:xfrm>
            <a:off x="5237020" y="1330036"/>
            <a:ext cx="144000" cy="144000"/>
          </a:xfrm>
          <a:prstGeom prst="ellipse">
            <a:avLst/>
          </a:prstGeom>
          <a:solidFill>
            <a:srgbClr val="106737"/>
          </a:solidFill>
          <a:ln w="12700" cap="flat">
            <a:solidFill>
              <a:srgbClr val="106737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9" name="Elipse 8">
            <a:extLst>
              <a:ext uri="{FF2B5EF4-FFF2-40B4-BE49-F238E27FC236}">
                <a16:creationId xmlns="" xmlns:a16="http://schemas.microsoft.com/office/drawing/2014/main" id="{C27BACCB-9CFD-2B61-2CEB-F88F940B8CB1}"/>
              </a:ext>
            </a:extLst>
          </p:cNvPr>
          <p:cNvSpPr/>
          <p:nvPr/>
        </p:nvSpPr>
        <p:spPr>
          <a:xfrm>
            <a:off x="5237016" y="1759246"/>
            <a:ext cx="144000" cy="144000"/>
          </a:xfrm>
          <a:prstGeom prst="ellipse">
            <a:avLst/>
          </a:prstGeom>
          <a:solidFill>
            <a:srgbClr val="106737"/>
          </a:solidFill>
          <a:ln w="12700" cap="flat">
            <a:solidFill>
              <a:srgbClr val="106737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0" name="Elipse 9">
            <a:extLst>
              <a:ext uri="{FF2B5EF4-FFF2-40B4-BE49-F238E27FC236}">
                <a16:creationId xmlns="" xmlns:a16="http://schemas.microsoft.com/office/drawing/2014/main" id="{859EB0F7-A172-5117-2C23-C33B660D5705}"/>
              </a:ext>
            </a:extLst>
          </p:cNvPr>
          <p:cNvSpPr/>
          <p:nvPr/>
        </p:nvSpPr>
        <p:spPr>
          <a:xfrm>
            <a:off x="5234340" y="2201781"/>
            <a:ext cx="144000" cy="144000"/>
          </a:xfrm>
          <a:prstGeom prst="ellipse">
            <a:avLst/>
          </a:prstGeom>
          <a:solidFill>
            <a:srgbClr val="106737"/>
          </a:solidFill>
          <a:ln w="12700" cap="flat">
            <a:solidFill>
              <a:srgbClr val="106737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Elipse 10">
            <a:extLst>
              <a:ext uri="{FF2B5EF4-FFF2-40B4-BE49-F238E27FC236}">
                <a16:creationId xmlns="" xmlns:a16="http://schemas.microsoft.com/office/drawing/2014/main" id="{82E4DC94-A682-7EB2-FFE3-50E3F057CD08}"/>
              </a:ext>
            </a:extLst>
          </p:cNvPr>
          <p:cNvSpPr/>
          <p:nvPr/>
        </p:nvSpPr>
        <p:spPr>
          <a:xfrm>
            <a:off x="5242649" y="2630991"/>
            <a:ext cx="144000" cy="144000"/>
          </a:xfrm>
          <a:prstGeom prst="ellipse">
            <a:avLst/>
          </a:prstGeom>
          <a:solidFill>
            <a:srgbClr val="106737"/>
          </a:solidFill>
          <a:ln w="12700" cap="flat">
            <a:solidFill>
              <a:srgbClr val="106737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2" name="Elipse 11">
            <a:extLst>
              <a:ext uri="{FF2B5EF4-FFF2-40B4-BE49-F238E27FC236}">
                <a16:creationId xmlns="" xmlns:a16="http://schemas.microsoft.com/office/drawing/2014/main" id="{907B01F6-429B-80F5-AE42-B055CF40B8E2}"/>
              </a:ext>
            </a:extLst>
          </p:cNvPr>
          <p:cNvSpPr/>
          <p:nvPr/>
        </p:nvSpPr>
        <p:spPr>
          <a:xfrm>
            <a:off x="5231520" y="3098465"/>
            <a:ext cx="144000" cy="144000"/>
          </a:xfrm>
          <a:prstGeom prst="ellipse">
            <a:avLst/>
          </a:prstGeom>
          <a:solidFill>
            <a:srgbClr val="106737"/>
          </a:solidFill>
          <a:ln w="12700" cap="flat">
            <a:solidFill>
              <a:srgbClr val="106737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3" name="Elipse 12">
            <a:extLst>
              <a:ext uri="{FF2B5EF4-FFF2-40B4-BE49-F238E27FC236}">
                <a16:creationId xmlns="" xmlns:a16="http://schemas.microsoft.com/office/drawing/2014/main" id="{12220868-AFB6-33C8-65E1-FB744F1E2FD8}"/>
              </a:ext>
            </a:extLst>
          </p:cNvPr>
          <p:cNvSpPr/>
          <p:nvPr/>
        </p:nvSpPr>
        <p:spPr>
          <a:xfrm>
            <a:off x="5231516" y="3527675"/>
            <a:ext cx="144000" cy="144000"/>
          </a:xfrm>
          <a:prstGeom prst="ellipse">
            <a:avLst/>
          </a:prstGeom>
          <a:solidFill>
            <a:srgbClr val="106737"/>
          </a:solidFill>
          <a:ln w="12700" cap="flat">
            <a:solidFill>
              <a:srgbClr val="106737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Elipse 13">
            <a:extLst>
              <a:ext uri="{FF2B5EF4-FFF2-40B4-BE49-F238E27FC236}">
                <a16:creationId xmlns="" xmlns:a16="http://schemas.microsoft.com/office/drawing/2014/main" id="{BD485217-9D43-20B7-E7CE-440EBCE2ED79}"/>
              </a:ext>
            </a:extLst>
          </p:cNvPr>
          <p:cNvSpPr/>
          <p:nvPr/>
        </p:nvSpPr>
        <p:spPr>
          <a:xfrm>
            <a:off x="5228840" y="3970210"/>
            <a:ext cx="144000" cy="144000"/>
          </a:xfrm>
          <a:prstGeom prst="ellipse">
            <a:avLst/>
          </a:prstGeom>
          <a:solidFill>
            <a:srgbClr val="106737"/>
          </a:solidFill>
          <a:ln w="12700" cap="flat">
            <a:solidFill>
              <a:srgbClr val="106737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5" name="Elipse 14">
            <a:extLst>
              <a:ext uri="{FF2B5EF4-FFF2-40B4-BE49-F238E27FC236}">
                <a16:creationId xmlns="" xmlns:a16="http://schemas.microsoft.com/office/drawing/2014/main" id="{557F8B8B-F8DE-0F58-9C05-95402832B1C4}"/>
              </a:ext>
            </a:extLst>
          </p:cNvPr>
          <p:cNvSpPr/>
          <p:nvPr/>
        </p:nvSpPr>
        <p:spPr>
          <a:xfrm>
            <a:off x="5237149" y="4781805"/>
            <a:ext cx="144000" cy="144000"/>
          </a:xfrm>
          <a:prstGeom prst="ellipse">
            <a:avLst/>
          </a:prstGeom>
          <a:solidFill>
            <a:srgbClr val="106737"/>
          </a:solidFill>
          <a:ln w="12700" cap="flat">
            <a:solidFill>
              <a:srgbClr val="106737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6" name="Elipse 15">
            <a:extLst>
              <a:ext uri="{FF2B5EF4-FFF2-40B4-BE49-F238E27FC236}">
                <a16:creationId xmlns="" xmlns:a16="http://schemas.microsoft.com/office/drawing/2014/main" id="{1245B0D2-789F-7677-2978-279913CEE807}"/>
              </a:ext>
            </a:extLst>
          </p:cNvPr>
          <p:cNvSpPr/>
          <p:nvPr/>
        </p:nvSpPr>
        <p:spPr>
          <a:xfrm>
            <a:off x="5234336" y="5232417"/>
            <a:ext cx="144000" cy="144000"/>
          </a:xfrm>
          <a:prstGeom prst="ellipse">
            <a:avLst/>
          </a:prstGeom>
          <a:solidFill>
            <a:srgbClr val="106737"/>
          </a:solidFill>
          <a:ln w="12700" cap="flat">
            <a:solidFill>
              <a:srgbClr val="106737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7" name="Elipse 16">
            <a:extLst>
              <a:ext uri="{FF2B5EF4-FFF2-40B4-BE49-F238E27FC236}">
                <a16:creationId xmlns="" xmlns:a16="http://schemas.microsoft.com/office/drawing/2014/main" id="{FC5C59BC-57AC-D71E-5728-FD901082D693}"/>
              </a:ext>
            </a:extLst>
          </p:cNvPr>
          <p:cNvSpPr/>
          <p:nvPr/>
        </p:nvSpPr>
        <p:spPr>
          <a:xfrm>
            <a:off x="5234332" y="5661627"/>
            <a:ext cx="144000" cy="144000"/>
          </a:xfrm>
          <a:prstGeom prst="ellipse">
            <a:avLst/>
          </a:prstGeom>
          <a:solidFill>
            <a:srgbClr val="106737"/>
          </a:solidFill>
          <a:ln w="12700" cap="flat">
            <a:solidFill>
              <a:srgbClr val="106737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8" name="Elipse 17">
            <a:extLst>
              <a:ext uri="{FF2B5EF4-FFF2-40B4-BE49-F238E27FC236}">
                <a16:creationId xmlns="" xmlns:a16="http://schemas.microsoft.com/office/drawing/2014/main" id="{0798CF27-03CD-CF0B-E52F-5C64A178F8E6}"/>
              </a:ext>
            </a:extLst>
          </p:cNvPr>
          <p:cNvSpPr/>
          <p:nvPr/>
        </p:nvSpPr>
        <p:spPr>
          <a:xfrm>
            <a:off x="5239969" y="6104162"/>
            <a:ext cx="144000" cy="144000"/>
          </a:xfrm>
          <a:prstGeom prst="ellipse">
            <a:avLst/>
          </a:prstGeom>
          <a:solidFill>
            <a:srgbClr val="106737"/>
          </a:solidFill>
          <a:ln w="12700" cap="flat">
            <a:solidFill>
              <a:srgbClr val="106737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9" name="CuadroTexto 14">
            <a:extLst>
              <a:ext uri="{FF2B5EF4-FFF2-40B4-BE49-F238E27FC236}">
                <a16:creationId xmlns="" xmlns:a16="http://schemas.microsoft.com/office/drawing/2014/main" id="{40177157-6967-4BE3-91A6-2E587444E64B}"/>
              </a:ext>
            </a:extLst>
          </p:cNvPr>
          <p:cNvSpPr txBox="1"/>
          <p:nvPr/>
        </p:nvSpPr>
        <p:spPr>
          <a:xfrm>
            <a:off x="5527964" y="1623102"/>
            <a:ext cx="6259484" cy="3236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algn="just" defTabSz="1219169" rtl="0" eaLnBrk="1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s-ES" sz="1600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Objetivos de SST</a:t>
            </a:r>
          </a:p>
        </p:txBody>
      </p:sp>
      <p:sp>
        <p:nvSpPr>
          <p:cNvPr id="20" name="Elipse 19">
            <a:extLst>
              <a:ext uri="{FF2B5EF4-FFF2-40B4-BE49-F238E27FC236}">
                <a16:creationId xmlns="" xmlns:a16="http://schemas.microsoft.com/office/drawing/2014/main" id="{E3375F6E-8A04-CA0B-7059-B82DBA389700}"/>
              </a:ext>
            </a:extLst>
          </p:cNvPr>
          <p:cNvSpPr/>
          <p:nvPr/>
        </p:nvSpPr>
        <p:spPr>
          <a:xfrm>
            <a:off x="5239969" y="4353700"/>
            <a:ext cx="144000" cy="144000"/>
          </a:xfrm>
          <a:prstGeom prst="ellipse">
            <a:avLst/>
          </a:prstGeom>
          <a:solidFill>
            <a:srgbClr val="106737"/>
          </a:solidFill>
          <a:ln w="12700" cap="flat">
            <a:solidFill>
              <a:srgbClr val="106737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CL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CuadroTexto 14">
            <a:extLst>
              <a:ext uri="{FF2B5EF4-FFF2-40B4-BE49-F238E27FC236}">
                <a16:creationId xmlns="" xmlns:a16="http://schemas.microsoft.com/office/drawing/2014/main" id="{A0BACD55-D1D9-7CF6-72BC-21BD8885AE5A}"/>
              </a:ext>
            </a:extLst>
          </p:cNvPr>
          <p:cNvSpPr txBox="1"/>
          <p:nvPr/>
        </p:nvSpPr>
        <p:spPr>
          <a:xfrm>
            <a:off x="5527964" y="2060758"/>
            <a:ext cx="625948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algn="just" defTabSz="1219169" rtl="0" eaLnBrk="1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s-ES" sz="1600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Proceso de organización, funciones y responsabilidades</a:t>
            </a:r>
          </a:p>
        </p:txBody>
      </p:sp>
      <p:sp>
        <p:nvSpPr>
          <p:cNvPr id="23" name="CuadroTexto 14">
            <a:extLst>
              <a:ext uri="{FF2B5EF4-FFF2-40B4-BE49-F238E27FC236}">
                <a16:creationId xmlns="" xmlns:a16="http://schemas.microsoft.com/office/drawing/2014/main" id="{AACFC743-D160-5E15-6CC2-D0DAFBA91F3C}"/>
              </a:ext>
            </a:extLst>
          </p:cNvPr>
          <p:cNvSpPr txBox="1"/>
          <p:nvPr/>
        </p:nvSpPr>
        <p:spPr>
          <a:xfrm>
            <a:off x="5527964" y="2498414"/>
            <a:ext cx="625948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algn="just" defTabSz="1219169" rtl="0" eaLnBrk="1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s-ES" sz="1600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Proceso de gestión de requisitos legales</a:t>
            </a:r>
          </a:p>
        </p:txBody>
      </p:sp>
      <p:sp>
        <p:nvSpPr>
          <p:cNvPr id="24" name="CuadroTexto 14">
            <a:extLst>
              <a:ext uri="{FF2B5EF4-FFF2-40B4-BE49-F238E27FC236}">
                <a16:creationId xmlns="" xmlns:a16="http://schemas.microsoft.com/office/drawing/2014/main" id="{57B277DF-EC71-B8E2-00E3-8F793080B8BD}"/>
              </a:ext>
            </a:extLst>
          </p:cNvPr>
          <p:cNvSpPr txBox="1"/>
          <p:nvPr/>
        </p:nvSpPr>
        <p:spPr>
          <a:xfrm>
            <a:off x="5527964" y="2948608"/>
            <a:ext cx="6259484" cy="3236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algn="just" defTabSz="1219169" rtl="0" eaLnBrk="1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s-ES" sz="1600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Proceso de gestión de riesgos de SST</a:t>
            </a:r>
          </a:p>
        </p:txBody>
      </p:sp>
      <p:sp>
        <p:nvSpPr>
          <p:cNvPr id="25" name="CuadroTexto 14">
            <a:extLst>
              <a:ext uri="{FF2B5EF4-FFF2-40B4-BE49-F238E27FC236}">
                <a16:creationId xmlns="" xmlns:a16="http://schemas.microsoft.com/office/drawing/2014/main" id="{671B2EBB-5F52-2486-650E-427253A9839F}"/>
              </a:ext>
            </a:extLst>
          </p:cNvPr>
          <p:cNvSpPr txBox="1"/>
          <p:nvPr/>
        </p:nvSpPr>
        <p:spPr>
          <a:xfrm>
            <a:off x="5527964" y="3388733"/>
            <a:ext cx="625948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algn="just" defTabSz="1219169" rtl="0" eaLnBrk="1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s-ES" sz="1600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Proceso de gestión de riesgos de desastres</a:t>
            </a:r>
          </a:p>
        </p:txBody>
      </p:sp>
      <p:sp>
        <p:nvSpPr>
          <p:cNvPr id="26" name="CuadroTexto 14">
            <a:extLst>
              <a:ext uri="{FF2B5EF4-FFF2-40B4-BE49-F238E27FC236}">
                <a16:creationId xmlns="" xmlns:a16="http://schemas.microsoft.com/office/drawing/2014/main" id="{188D124C-4080-4282-CEE5-8E17B967F0FB}"/>
              </a:ext>
            </a:extLst>
          </p:cNvPr>
          <p:cNvSpPr txBox="1"/>
          <p:nvPr/>
        </p:nvSpPr>
        <p:spPr>
          <a:xfrm>
            <a:off x="5527964" y="5537418"/>
            <a:ext cx="6259484" cy="3236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algn="just" defTabSz="1219169" rtl="0" eaLnBrk="1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s-ES" sz="1600" dirty="0">
                <a:solidFill>
                  <a:schemeClr val="bg1">
                    <a:lumMod val="65000"/>
                  </a:schemeClr>
                </a:solidFill>
                <a:sym typeface="Arial"/>
              </a:rPr>
              <a:t>[Proceso de gestión de comité paritario de higiene y seguridad]</a:t>
            </a:r>
          </a:p>
        </p:txBody>
      </p:sp>
      <p:sp>
        <p:nvSpPr>
          <p:cNvPr id="27" name="CuadroTexto 14">
            <a:extLst>
              <a:ext uri="{FF2B5EF4-FFF2-40B4-BE49-F238E27FC236}">
                <a16:creationId xmlns="" xmlns:a16="http://schemas.microsoft.com/office/drawing/2014/main" id="{16172E44-249C-A58D-BEB1-7741B6983973}"/>
              </a:ext>
            </a:extLst>
          </p:cNvPr>
          <p:cNvSpPr txBox="1"/>
          <p:nvPr/>
        </p:nvSpPr>
        <p:spPr>
          <a:xfrm>
            <a:off x="5527964" y="5948924"/>
            <a:ext cx="6259484" cy="3236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algn="just" defTabSz="1219169" rtl="0" eaLnBrk="1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s-ES" sz="1600" dirty="0">
                <a:solidFill>
                  <a:schemeClr val="bg1">
                    <a:lumMod val="65000"/>
                  </a:schemeClr>
                </a:solidFill>
                <a:sym typeface="Arial"/>
              </a:rPr>
              <a:t>[Proceso de gestión de contratistas]</a:t>
            </a:r>
          </a:p>
        </p:txBody>
      </p:sp>
      <p:sp>
        <p:nvSpPr>
          <p:cNvPr id="28" name="CuadroTexto 14">
            <a:extLst>
              <a:ext uri="{FF2B5EF4-FFF2-40B4-BE49-F238E27FC236}">
                <a16:creationId xmlns="" xmlns:a16="http://schemas.microsoft.com/office/drawing/2014/main" id="{A031B6BD-4057-F59B-F6D7-42C598A3E427}"/>
              </a:ext>
            </a:extLst>
          </p:cNvPr>
          <p:cNvSpPr txBox="1"/>
          <p:nvPr/>
        </p:nvSpPr>
        <p:spPr>
          <a:xfrm>
            <a:off x="5527964" y="4232113"/>
            <a:ext cx="625948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algn="just" defTabSz="1219169" rtl="0" eaLnBrk="1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s-ES" sz="1600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Proceso de auditoría interna</a:t>
            </a:r>
          </a:p>
        </p:txBody>
      </p:sp>
      <p:sp>
        <p:nvSpPr>
          <p:cNvPr id="29" name="CuadroTexto 14">
            <a:extLst>
              <a:ext uri="{FF2B5EF4-FFF2-40B4-BE49-F238E27FC236}">
                <a16:creationId xmlns="" xmlns:a16="http://schemas.microsoft.com/office/drawing/2014/main" id="{14353D52-E876-E35A-7B83-245434C16A51}"/>
              </a:ext>
            </a:extLst>
          </p:cNvPr>
          <p:cNvSpPr txBox="1"/>
          <p:nvPr/>
        </p:nvSpPr>
        <p:spPr>
          <a:xfrm>
            <a:off x="5527964" y="3822527"/>
            <a:ext cx="625948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algn="just" defTabSz="1219169" rtl="0" eaLnBrk="1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s-ES" sz="1600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Proceso de investigación de incidentes y análisis de EP</a:t>
            </a:r>
          </a:p>
        </p:txBody>
      </p:sp>
      <p:sp>
        <p:nvSpPr>
          <p:cNvPr id="30" name="CuadroTexto 14">
            <a:extLst>
              <a:ext uri="{FF2B5EF4-FFF2-40B4-BE49-F238E27FC236}">
                <a16:creationId xmlns="" xmlns:a16="http://schemas.microsoft.com/office/drawing/2014/main" id="{B31CCD73-7CD3-D9B5-84E1-3F9BAA93F09E}"/>
              </a:ext>
            </a:extLst>
          </p:cNvPr>
          <p:cNvSpPr txBox="1"/>
          <p:nvPr/>
        </p:nvSpPr>
        <p:spPr>
          <a:xfrm>
            <a:off x="5527964" y="4641879"/>
            <a:ext cx="625948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algn="just" defTabSz="1219169" rtl="0" eaLnBrk="1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s-ES" sz="1600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Proceso de revisión por la dirección</a:t>
            </a:r>
          </a:p>
        </p:txBody>
      </p:sp>
      <p:sp>
        <p:nvSpPr>
          <p:cNvPr id="31" name="CuadroTexto 14">
            <a:extLst>
              <a:ext uri="{FF2B5EF4-FFF2-40B4-BE49-F238E27FC236}">
                <a16:creationId xmlns="" xmlns:a16="http://schemas.microsoft.com/office/drawing/2014/main" id="{3643C936-2918-2CB7-2F20-F380456AA0BB}"/>
              </a:ext>
            </a:extLst>
          </p:cNvPr>
          <p:cNvSpPr txBox="1"/>
          <p:nvPr/>
        </p:nvSpPr>
        <p:spPr>
          <a:xfrm>
            <a:off x="5527964" y="5070578"/>
            <a:ext cx="625948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algn="just" defTabSz="1219169" rtl="0" eaLnBrk="1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s-ES" sz="1600" dirty="0">
                <a:solidFill>
                  <a:schemeClr val="tx1">
                    <a:lumMod val="90000"/>
                    <a:lumOff val="10000"/>
                  </a:schemeClr>
                </a:solidFill>
                <a:sym typeface="Arial"/>
              </a:rPr>
              <a:t>Proceso de medición y seguimiento</a:t>
            </a:r>
          </a:p>
        </p:txBody>
      </p:sp>
    </p:spTree>
    <p:extLst>
      <p:ext uri="{BB962C8B-B14F-4D97-AF65-F5344CB8AC3E}">
        <p14:creationId xmlns:p14="http://schemas.microsoft.com/office/powerpoint/2010/main" val="3912347500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4B1C77A9-E520-CFF4-5468-1380F7D021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="" xmlns:a16="http://schemas.microsoft.com/office/drawing/2014/main" id="{62806738-D924-3451-5BF0-CF9DD1B6B41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2" name="Diapositiva de think-cell" r:id="rId4" imgW="415" imgH="416" progId="TCLayout.ActiveDocument.1">
                  <p:embed/>
                </p:oleObj>
              </mc:Choice>
              <mc:Fallback>
                <p:oleObj name="Diapositiva de think-cell" r:id="rId4" imgW="415" imgH="416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="" xmlns:a16="http://schemas.microsoft.com/office/drawing/2014/main" id="{62806738-D924-3451-5BF0-CF9DD1B6B4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Marcador de texto 6">
            <a:extLst>
              <a:ext uri="{FF2B5EF4-FFF2-40B4-BE49-F238E27FC236}">
                <a16:creationId xmlns="" xmlns:a16="http://schemas.microsoft.com/office/drawing/2014/main" id="{131A9D3E-6282-6139-9936-44B140CDEF1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80143" y="6009219"/>
            <a:ext cx="10053832" cy="585994"/>
          </a:xfrm>
        </p:spPr>
        <p:txBody>
          <a:bodyPr wrap="square">
            <a:spAutoFit/>
          </a:bodyPr>
          <a:lstStyle/>
          <a:p>
            <a:pPr>
              <a:lnSpc>
                <a:spcPts val="5000"/>
              </a:lnSpc>
            </a:pPr>
            <a:r>
              <a:rPr lang="es-CL" sz="3600" dirty="0"/>
              <a:t>Apoyo ISO 45001</a:t>
            </a:r>
          </a:p>
        </p:txBody>
      </p:sp>
      <p:sp>
        <p:nvSpPr>
          <p:cNvPr id="3" name="Marcador de texto 16">
            <a:extLst>
              <a:ext uri="{FF2B5EF4-FFF2-40B4-BE49-F238E27FC236}">
                <a16:creationId xmlns="" xmlns:a16="http://schemas.microsoft.com/office/drawing/2014/main" id="{B5585E59-2AA1-7FDC-D4FA-73271AFC8A01}"/>
              </a:ext>
            </a:extLst>
          </p:cNvPr>
          <p:cNvSpPr txBox="1">
            <a:spLocks/>
          </p:cNvSpPr>
          <p:nvPr/>
        </p:nvSpPr>
        <p:spPr>
          <a:xfrm>
            <a:off x="449263" y="326559"/>
            <a:ext cx="7667126" cy="41291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CL" b="1" dirty="0">
                <a:solidFill>
                  <a:srgbClr val="13C045"/>
                </a:solidFill>
              </a:rPr>
              <a:t>Política de SST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="" xmlns:a16="http://schemas.microsoft.com/office/drawing/2014/main" id="{16058B4C-1E83-1ACE-A14F-D4FAFB825945}"/>
              </a:ext>
            </a:extLst>
          </p:cNvPr>
          <p:cNvSpPr txBox="1"/>
          <p:nvPr/>
        </p:nvSpPr>
        <p:spPr>
          <a:xfrm>
            <a:off x="726142" y="1050820"/>
            <a:ext cx="10461811" cy="53378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t">
            <a:spAutoFit/>
          </a:bodyPr>
          <a:lstStyle/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La implementación de la Política de SST, cuenta con los siguientes resultados:</a:t>
            </a: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  <a:p>
            <a:pPr marL="285750" indent="-285750" algn="just" defTabSz="2438338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s-ES" sz="18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Indicador 1</a:t>
            </a: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Descripción del indicador y método de cálculo</a:t>
            </a: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  <a:cs typeface="Arial"/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bg1">
                    <a:lumMod val="65000"/>
                  </a:schemeClr>
                </a:solidFill>
              </a:rPr>
              <a:t>[Nombre indicador] = [Resultado Indicador]</a:t>
            </a: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marL="285750" indent="-285750" algn="just" defTabSz="2438338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s-ES" sz="18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Indicador n</a:t>
            </a: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Descripción del indicador y método de cálculo</a:t>
            </a: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  <a:cs typeface="Arial"/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bg1">
                    <a:lumMod val="65000"/>
                  </a:schemeClr>
                </a:solidFill>
              </a:rPr>
              <a:t>[Nombre indicador] = [Resultado Indicador]</a:t>
            </a: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r>
              <a:rPr lang="es-ES" sz="18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Análisis sobre los resultados:</a:t>
            </a: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bg1">
                    <a:lumMod val="65000"/>
                  </a:schemeClr>
                </a:solidFill>
              </a:rPr>
              <a:t>[Descripción del análisis desarrollado]</a:t>
            </a: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marR="0" algn="just" defTabSz="2438338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endParaRPr kumimoji="0" lang="es-ES" sz="1800" b="0" i="0" u="none" strike="noStrike" cap="none" spc="0" normalizeH="0" baseline="0" dirty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uFillTx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745251119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96295297-0D08-FB75-289E-28A8774AF7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="" xmlns:a16="http://schemas.microsoft.com/office/drawing/2014/main" id="{F8F05F26-754A-C5DD-0C8C-4574A8AEDF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6" name="Diapositiva de think-cell" r:id="rId4" imgW="415" imgH="416" progId="TCLayout.ActiveDocument.1">
                  <p:embed/>
                </p:oleObj>
              </mc:Choice>
              <mc:Fallback>
                <p:oleObj name="Diapositiva de think-cell" r:id="rId4" imgW="415" imgH="416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="" xmlns:a16="http://schemas.microsoft.com/office/drawing/2014/main" id="{F8F05F26-754A-C5DD-0C8C-4574A8AED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Marcador de texto 6">
            <a:extLst>
              <a:ext uri="{FF2B5EF4-FFF2-40B4-BE49-F238E27FC236}">
                <a16:creationId xmlns="" xmlns:a16="http://schemas.microsoft.com/office/drawing/2014/main" id="{2B1EFCAF-AE2F-D1EF-D062-9D287783819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80143" y="6009219"/>
            <a:ext cx="10053832" cy="585994"/>
          </a:xfrm>
        </p:spPr>
        <p:txBody>
          <a:bodyPr wrap="square">
            <a:spAutoFit/>
          </a:bodyPr>
          <a:lstStyle/>
          <a:p>
            <a:pPr>
              <a:lnSpc>
                <a:spcPts val="5000"/>
              </a:lnSpc>
            </a:pPr>
            <a:r>
              <a:rPr lang="es-CL" sz="3600" dirty="0"/>
              <a:t>Apoyo ISO 45001</a:t>
            </a:r>
          </a:p>
        </p:txBody>
      </p:sp>
      <p:sp>
        <p:nvSpPr>
          <p:cNvPr id="2" name="Marcador de texto 16">
            <a:extLst>
              <a:ext uri="{FF2B5EF4-FFF2-40B4-BE49-F238E27FC236}">
                <a16:creationId xmlns="" xmlns:a16="http://schemas.microsoft.com/office/drawing/2014/main" id="{D0310465-4C6C-DF73-FFEC-4759EB07D682}"/>
              </a:ext>
            </a:extLst>
          </p:cNvPr>
          <p:cNvSpPr txBox="1">
            <a:spLocks/>
          </p:cNvSpPr>
          <p:nvPr/>
        </p:nvSpPr>
        <p:spPr>
          <a:xfrm>
            <a:off x="449263" y="326559"/>
            <a:ext cx="7667126" cy="41291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CL" b="1" dirty="0">
                <a:solidFill>
                  <a:srgbClr val="13C045"/>
                </a:solidFill>
              </a:rPr>
              <a:t>Objetivos de SST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="" xmlns:a16="http://schemas.microsoft.com/office/drawing/2014/main" id="{DA88F193-E54D-F802-8A59-030B783C1F54}"/>
              </a:ext>
            </a:extLst>
          </p:cNvPr>
          <p:cNvSpPr txBox="1"/>
          <p:nvPr/>
        </p:nvSpPr>
        <p:spPr>
          <a:xfrm>
            <a:off x="726142" y="1050820"/>
            <a:ext cx="10461811" cy="53378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t">
            <a:spAutoFit/>
          </a:bodyPr>
          <a:lstStyle/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La implementación de los Objetivos de SST, cuenta con los siguientes resultados:</a:t>
            </a: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  <a:p>
            <a:pPr marL="285750" indent="-285750" algn="just" defTabSz="2438338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s-ES" sz="18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Indicador 1</a:t>
            </a: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Descripción del indicador y método de calculo</a:t>
            </a: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bg1">
                    <a:lumMod val="65000"/>
                  </a:schemeClr>
                </a:solidFill>
              </a:rPr>
              <a:t>[Nombre indicador] = [Resultado Indicador]</a:t>
            </a: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marL="285750" indent="-285750" algn="just" defTabSz="2438338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s-ES" sz="18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Indicador n</a:t>
            </a: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Descripción del indicador y método de calculo</a:t>
            </a: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bg1">
                    <a:lumMod val="65000"/>
                  </a:schemeClr>
                </a:solidFill>
              </a:rPr>
              <a:t>[Nombre indicador] = [Resultado Indicador]</a:t>
            </a: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r>
              <a:rPr lang="es-ES" sz="18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Análisis sobre los resultados:</a:t>
            </a: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bg1">
                    <a:lumMod val="65000"/>
                  </a:schemeClr>
                </a:solidFill>
              </a:rPr>
              <a:t>[Descripción del análisis desarrollado]</a:t>
            </a: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marR="0" algn="just" defTabSz="2438338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endParaRPr kumimoji="0" lang="es-ES" sz="1800" b="0" i="0" u="none" strike="noStrike" cap="none" spc="0" normalizeH="0" baseline="0" dirty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uFillTx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57495433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C5D43BA0-7088-D4EA-A455-8CF6C11FF6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="" xmlns:a16="http://schemas.microsoft.com/office/drawing/2014/main" id="{21FEB257-8EE2-DFCD-F7B8-E1ACDBE2F9A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0" name="Diapositiva de think-cell" r:id="rId4" imgW="415" imgH="416" progId="TCLayout.ActiveDocument.1">
                  <p:embed/>
                </p:oleObj>
              </mc:Choice>
              <mc:Fallback>
                <p:oleObj name="Diapositiva de think-cell" r:id="rId4" imgW="415" imgH="416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="" xmlns:a16="http://schemas.microsoft.com/office/drawing/2014/main" id="{21FEB257-8EE2-DFCD-F7B8-E1ACDBE2F9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Marcador de texto 6">
            <a:extLst>
              <a:ext uri="{FF2B5EF4-FFF2-40B4-BE49-F238E27FC236}">
                <a16:creationId xmlns="" xmlns:a16="http://schemas.microsoft.com/office/drawing/2014/main" id="{6579BA09-ACF1-3403-C9DF-8EDC60CFB92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80143" y="6009219"/>
            <a:ext cx="10053832" cy="585994"/>
          </a:xfrm>
        </p:spPr>
        <p:txBody>
          <a:bodyPr wrap="square">
            <a:spAutoFit/>
          </a:bodyPr>
          <a:lstStyle/>
          <a:p>
            <a:pPr>
              <a:lnSpc>
                <a:spcPts val="5000"/>
              </a:lnSpc>
            </a:pPr>
            <a:r>
              <a:rPr lang="es-CL" sz="3600" dirty="0"/>
              <a:t>Apoyo ISO 45001</a:t>
            </a:r>
          </a:p>
        </p:txBody>
      </p:sp>
      <p:sp>
        <p:nvSpPr>
          <p:cNvPr id="2" name="Marcador de texto 16">
            <a:extLst>
              <a:ext uri="{FF2B5EF4-FFF2-40B4-BE49-F238E27FC236}">
                <a16:creationId xmlns="" xmlns:a16="http://schemas.microsoft.com/office/drawing/2014/main" id="{394BA31C-FB30-076D-46F5-72F35B95BF42}"/>
              </a:ext>
            </a:extLst>
          </p:cNvPr>
          <p:cNvSpPr txBox="1">
            <a:spLocks/>
          </p:cNvSpPr>
          <p:nvPr/>
        </p:nvSpPr>
        <p:spPr>
          <a:xfrm>
            <a:off x="449263" y="326559"/>
            <a:ext cx="7667126" cy="41291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" b="1" dirty="0">
                <a:solidFill>
                  <a:srgbClr val="13C045"/>
                </a:solidFill>
              </a:rPr>
              <a:t>Proceso de organización, funciones y responsabilidades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="" xmlns:a16="http://schemas.microsoft.com/office/drawing/2014/main" id="{B1E83C60-DE83-1486-4903-33213821564B}"/>
              </a:ext>
            </a:extLst>
          </p:cNvPr>
          <p:cNvSpPr txBox="1"/>
          <p:nvPr/>
        </p:nvSpPr>
        <p:spPr>
          <a:xfrm>
            <a:off x="726143" y="1050820"/>
            <a:ext cx="10053832" cy="616886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t">
            <a:spAutoFit/>
          </a:bodyPr>
          <a:lstStyle/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La implementación del proceso de organización, funciones y responsabilidades, cuenta con los siguientes resultados:</a:t>
            </a: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  <a:p>
            <a:pPr marL="285750" indent="-285750" algn="just" defTabSz="2438338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s-ES" sz="18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Indicador 1</a:t>
            </a: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Descripción del indicador y método de cálculo</a:t>
            </a: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  <a:cs typeface="Arial"/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bg1">
                    <a:lumMod val="65000"/>
                  </a:schemeClr>
                </a:solidFill>
              </a:rPr>
              <a:t>[Nombre indicador] = [Resultado Indicador]</a:t>
            </a: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marL="285750" indent="-285750" algn="just" defTabSz="2438338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s-ES" sz="18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Indicador n</a:t>
            </a: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Descripción del indicador y método de cálculo</a:t>
            </a: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  <a:cs typeface="Arial"/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bg1">
                    <a:lumMod val="65000"/>
                  </a:schemeClr>
                </a:solidFill>
              </a:rPr>
              <a:t>[Nombre indicador] = [Resultado Indicador]</a:t>
            </a: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r>
              <a:rPr lang="es-ES" sz="18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Análisis sobre los resultados:</a:t>
            </a: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bg1">
                    <a:lumMod val="65000"/>
                  </a:schemeClr>
                </a:solidFill>
              </a:rPr>
              <a:t>[Descripción del análisis desarrollado]</a:t>
            </a: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marR="0" algn="just" defTabSz="2438338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endParaRPr kumimoji="0" lang="es-ES" sz="1800" b="0" i="0" u="none" strike="noStrike" cap="none" spc="0" normalizeH="0" baseline="0" dirty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uFillTx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568387310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texto 16">
            <a:extLst>
              <a:ext uri="{FF2B5EF4-FFF2-40B4-BE49-F238E27FC236}">
                <a16:creationId xmlns="" xmlns:a16="http://schemas.microsoft.com/office/drawing/2014/main" id="{D04A7202-F22E-2B07-8DBD-EB53B1B4FF2F}"/>
              </a:ext>
            </a:extLst>
          </p:cNvPr>
          <p:cNvSpPr txBox="1">
            <a:spLocks/>
          </p:cNvSpPr>
          <p:nvPr/>
        </p:nvSpPr>
        <p:spPr>
          <a:xfrm>
            <a:off x="449263" y="326559"/>
            <a:ext cx="7667126" cy="41291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CL" b="1" dirty="0">
                <a:solidFill>
                  <a:srgbClr val="13C045"/>
                </a:solidFill>
              </a:rPr>
              <a:t>Proceso de gestión de requisitos legales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="" xmlns:a16="http://schemas.microsoft.com/office/drawing/2014/main" id="{F044E394-1CE9-B15C-638F-AE71461F2200}"/>
              </a:ext>
            </a:extLst>
          </p:cNvPr>
          <p:cNvSpPr txBox="1"/>
          <p:nvPr/>
        </p:nvSpPr>
        <p:spPr>
          <a:xfrm>
            <a:off x="865094" y="1066036"/>
            <a:ext cx="10461811" cy="60857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t">
            <a:spAutoFit/>
          </a:bodyPr>
          <a:lstStyle/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La implementación del proceso de gestión de requisitos legales, cuenta con los siguientes resultados:</a:t>
            </a: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  <a:p>
            <a:pPr marL="285750" indent="-285750" algn="just" defTabSz="2438338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s-ES" sz="18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Indicador ante fiscalización</a:t>
            </a: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Descripción del indicador y método de cálculo, relacionado a la generación de multas por parte de los organismos fiscalizadores.</a:t>
            </a: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bg1">
                    <a:lumMod val="65000"/>
                  </a:schemeClr>
                </a:solidFill>
              </a:rPr>
              <a:t>[Nombre indicador] = [Resultado Indicador]</a:t>
            </a: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  <a:p>
            <a:pPr marL="285750" indent="-285750" algn="just" defTabSz="2438338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s-ES" sz="18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Indicador 2</a:t>
            </a: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Descripción del indicador y método de cálculo</a:t>
            </a: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bg1">
                    <a:lumMod val="65000"/>
                  </a:schemeClr>
                </a:solidFill>
              </a:rPr>
              <a:t>[Nombre indicador] = [Resultado Indicador]</a:t>
            </a: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r>
              <a:rPr lang="es-ES" sz="18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Análisis sobre los resultados:</a:t>
            </a: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bg1">
                    <a:lumMod val="65000"/>
                  </a:schemeClr>
                </a:solidFill>
              </a:rPr>
              <a:t>[Descripción del análisis desarrollado]</a:t>
            </a: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marR="0" algn="just" defTabSz="2438338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endParaRPr kumimoji="0" lang="es-ES" sz="1800" b="0" i="0" u="none" strike="noStrike" cap="none" spc="0" normalizeH="0" baseline="0" dirty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uFillTx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939536879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texto 16">
            <a:extLst>
              <a:ext uri="{FF2B5EF4-FFF2-40B4-BE49-F238E27FC236}">
                <a16:creationId xmlns="" xmlns:a16="http://schemas.microsoft.com/office/drawing/2014/main" id="{9C1CFF08-054E-FEA6-B857-38FEDF4750F2}"/>
              </a:ext>
            </a:extLst>
          </p:cNvPr>
          <p:cNvSpPr txBox="1">
            <a:spLocks/>
          </p:cNvSpPr>
          <p:nvPr/>
        </p:nvSpPr>
        <p:spPr>
          <a:xfrm>
            <a:off x="449263" y="326559"/>
            <a:ext cx="7667126" cy="41291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۔"/>
              <a:defRPr sz="1400" b="0" kern="1200">
                <a:solidFill>
                  <a:schemeClr val="accent3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CL" b="1" dirty="0">
                <a:solidFill>
                  <a:srgbClr val="13C045"/>
                </a:solidFill>
              </a:rPr>
              <a:t>Proceso de gestión de riesgos de SST</a:t>
            </a:r>
          </a:p>
          <a:p>
            <a:pPr marL="0" indent="0">
              <a:buNone/>
            </a:pPr>
            <a:endParaRPr lang="es-CL" b="1" dirty="0">
              <a:solidFill>
                <a:srgbClr val="13C045"/>
              </a:solidFill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="" xmlns:a16="http://schemas.microsoft.com/office/drawing/2014/main" id="{63D35C5E-9BD7-F865-1AB5-AE4E8C6FA644}"/>
              </a:ext>
            </a:extLst>
          </p:cNvPr>
          <p:cNvSpPr txBox="1"/>
          <p:nvPr/>
        </p:nvSpPr>
        <p:spPr>
          <a:xfrm>
            <a:off x="726142" y="1050820"/>
            <a:ext cx="10461811" cy="53378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t">
            <a:spAutoFit/>
          </a:bodyPr>
          <a:lstStyle/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La implementación del proceso de gestión de riesgos de SST, cuenta con los siguientes resultados:</a:t>
            </a: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bg1">
                  <a:lumMod val="65000"/>
                </a:schemeClr>
              </a:solidFill>
              <a:cs typeface="Arial" panose="020B0604020202020204" pitchFamily="34" charset="0"/>
            </a:endParaRPr>
          </a:p>
          <a:p>
            <a:pPr marL="285750" indent="-285750" algn="just" defTabSz="2438338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s-ES" sz="18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Indicador 1</a:t>
            </a: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Descripción del indicador y método de cálculo</a:t>
            </a: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  <a:cs typeface="Arial"/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bg1">
                    <a:lumMod val="65000"/>
                  </a:schemeClr>
                </a:solidFill>
              </a:rPr>
              <a:t>[Nombre indicador] = [Resultado Indicador]</a:t>
            </a: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marL="285750" indent="-285750" algn="just" defTabSz="2438338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s-ES" sz="18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Indicador n</a:t>
            </a: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Descripción del indicador y método de cálculo</a:t>
            </a: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  <a:cs typeface="Arial"/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bg1">
                    <a:lumMod val="65000"/>
                  </a:schemeClr>
                </a:solidFill>
              </a:rPr>
              <a:t>[Nombre indicador] = [Resultado Indicador]</a:t>
            </a: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r>
              <a:rPr lang="es-ES" sz="18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Análisis sobre los resultados:</a:t>
            </a:r>
          </a:p>
          <a:p>
            <a:pPr algn="just" defTabSz="2438338">
              <a:spcBef>
                <a:spcPts val="0"/>
              </a:spcBef>
            </a:pPr>
            <a:r>
              <a:rPr lang="es-ES" sz="1800" dirty="0">
                <a:solidFill>
                  <a:schemeClr val="bg1">
                    <a:lumMod val="65000"/>
                  </a:schemeClr>
                </a:solidFill>
              </a:rPr>
              <a:t>[Descripción del análisis desarrollado]</a:t>
            </a: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just" defTabSz="2438338">
              <a:spcBef>
                <a:spcPts val="0"/>
              </a:spcBef>
            </a:pPr>
            <a:endParaRPr lang="es-ES" sz="18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marR="0" algn="just" defTabSz="2438338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endParaRPr kumimoji="0" lang="es-ES" sz="1800" b="0" i="0" u="none" strike="noStrike" cap="none" spc="0" normalizeH="0" baseline="0" dirty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uFillTx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368643708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9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A5XPePmQKBijDHX2wj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A5XPePmQKBijDHX2wjN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vxTBd9rD6FWRtZER_vA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dn7lnFnLKILanjy1rOr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LZN3RSng7Q7OL6fDEgP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5wTvh7A0PMtCYHw7Uiz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g7lgRhLit3Ex1k8JYPI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4bYVqNE3nowdV9P5brC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i8Hb3YkAywYpZA1u39y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e3ftJn24p2SR8NaGwal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LL8TDB4GyIrf4rFqvYh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Y7512g37Kt9s.4Dg9Ou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mZcK4Rgn2gAw72NhFRN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mZcK4Rgn2gAw72NhFRN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mZcK4Rgn2gAw72NhFRN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mZcK4Rgn2gAw72NhFRN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ema de Office">
  <a:themeElements>
    <a:clrScheme name="_ACHS_Laboral_CGS">
      <a:dk1>
        <a:srgbClr val="000000"/>
      </a:dk1>
      <a:lt1>
        <a:sysClr val="window" lastClr="FFFFFF"/>
      </a:lt1>
      <a:dk2>
        <a:srgbClr val="EAEADE"/>
      </a:dk2>
      <a:lt2>
        <a:srgbClr val="004C14"/>
      </a:lt2>
      <a:accent1>
        <a:srgbClr val="13C045"/>
      </a:accent1>
      <a:accent2>
        <a:srgbClr val="7EFF45"/>
      </a:accent2>
      <a:accent3>
        <a:srgbClr val="27933E"/>
      </a:accent3>
      <a:accent4>
        <a:srgbClr val="81D877"/>
      </a:accent4>
      <a:accent5>
        <a:srgbClr val="FC952E"/>
      </a:accent5>
      <a:accent6>
        <a:srgbClr val="348FFF"/>
      </a:accent6>
      <a:hlink>
        <a:srgbClr val="002A6C"/>
      </a:hlink>
      <a:folHlink>
        <a:srgbClr val="0065E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ontenido_Achs Seguro Laboral">
  <a:themeElements>
    <a:clrScheme name="Seguro Laboral">
      <a:dk1>
        <a:srgbClr val="000000"/>
      </a:dk1>
      <a:lt1>
        <a:sysClr val="window" lastClr="FFFFFF"/>
      </a:lt1>
      <a:dk2>
        <a:srgbClr val="EAEADE"/>
      </a:dk2>
      <a:lt2>
        <a:srgbClr val="004C14"/>
      </a:lt2>
      <a:accent1>
        <a:srgbClr val="13C045"/>
      </a:accent1>
      <a:accent2>
        <a:srgbClr val="7EFF45"/>
      </a:accent2>
      <a:accent3>
        <a:srgbClr val="000000"/>
      </a:accent3>
      <a:accent4>
        <a:srgbClr val="27933E"/>
      </a:accent4>
      <a:accent5>
        <a:srgbClr val="81D877"/>
      </a:accent5>
      <a:accent6>
        <a:srgbClr val="27933E"/>
      </a:accent6>
      <a:hlink>
        <a:srgbClr val="13C045"/>
      </a:hlink>
      <a:folHlink>
        <a:srgbClr val="004C14"/>
      </a:folHlink>
    </a:clrScheme>
    <a:fontScheme name="Ach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0" tIns="0" rIns="0" bIns="0" rtlCol="0" anchor="t" anchorCtr="0"/>
      <a:lstStyle>
        <a:defPPr algn="l">
          <a:defRPr sz="14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Portadas y cierres_Achs Seguro Laboral">
  <a:themeElements>
    <a:clrScheme name="Seguro Laboral">
      <a:dk1>
        <a:srgbClr val="000000"/>
      </a:dk1>
      <a:lt1>
        <a:sysClr val="window" lastClr="FFFFFF"/>
      </a:lt1>
      <a:dk2>
        <a:srgbClr val="EAEADE"/>
      </a:dk2>
      <a:lt2>
        <a:srgbClr val="004C14"/>
      </a:lt2>
      <a:accent1>
        <a:srgbClr val="13C045"/>
      </a:accent1>
      <a:accent2>
        <a:srgbClr val="7EFF45"/>
      </a:accent2>
      <a:accent3>
        <a:srgbClr val="000000"/>
      </a:accent3>
      <a:accent4>
        <a:srgbClr val="27933E"/>
      </a:accent4>
      <a:accent5>
        <a:srgbClr val="81D877"/>
      </a:accent5>
      <a:accent6>
        <a:srgbClr val="27933E"/>
      </a:accent6>
      <a:hlink>
        <a:srgbClr val="13C045"/>
      </a:hlink>
      <a:folHlink>
        <a:srgbClr val="004C14"/>
      </a:folHlink>
    </a:clrScheme>
    <a:fontScheme name="Ach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0" tIns="0" rIns="0" bIns="0" rtlCol="0" anchor="t" anchorCtr="0"/>
      <a:lstStyle>
        <a:defPPr algn="l">
          <a:defRPr sz="14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E2A9FD22760AD147A5C66BC32FA5886E" ma:contentTypeVersion="11" ma:contentTypeDescription="Crear nuevo documento." ma:contentTypeScope="" ma:versionID="a11fa67d67f90021f6cdfe0087e8b36c">
  <xsd:schema xmlns:xsd="http://www.w3.org/2001/XMLSchema" xmlns:xs="http://www.w3.org/2001/XMLSchema" xmlns:p="http://schemas.microsoft.com/office/2006/metadata/properties" xmlns:ns2="391d50fe-b6cd-4da3-871e-89bb03fbb8be" xmlns:ns3="dbc1e56f-c5a5-40d8-a530-a807fff1d6cc" targetNamespace="http://schemas.microsoft.com/office/2006/metadata/properties" ma:root="true" ma:fieldsID="1e58464aea7542f101fd1f2719274de5" ns2:_="" ns3:_="">
    <xsd:import namespace="391d50fe-b6cd-4da3-871e-89bb03fbb8be"/>
    <xsd:import namespace="dbc1e56f-c5a5-40d8-a530-a807fff1d6c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1d50fe-b6cd-4da3-871e-89bb03fbb8b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Etiquetas de imagen" ma:readOnly="false" ma:fieldId="{5cf76f15-5ced-4ddc-b409-7134ff3c332f}" ma:taxonomyMulti="true" ma:sspId="3502374b-82e5-4b34-b572-a4b8594eee8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bc1e56f-c5a5-40d8-a530-a807fff1d6cc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85d19581-60c3-4388-a72e-23a0fa71e741}" ma:internalName="TaxCatchAll" ma:showField="CatchAllData" ma:web="dbc1e56f-c5a5-40d8-a530-a807fff1d6c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bc1e56f-c5a5-40d8-a530-a807fff1d6cc" xsi:nil="true"/>
    <lcf76f155ced4ddcb4097134ff3c332f xmlns="391d50fe-b6cd-4da3-871e-89bb03fbb8be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469C267-C3AF-4E59-9EED-BDFA090690AC}"/>
</file>

<file path=customXml/itemProps2.xml><?xml version="1.0" encoding="utf-8"?>
<ds:datastoreItem xmlns:ds="http://schemas.openxmlformats.org/officeDocument/2006/customXml" ds:itemID="{EE0E9AAD-D5C8-4B4C-892B-6E217CCAEA27}">
  <ds:schemaRefs>
    <ds:schemaRef ds:uri="http://purl.org/dc/terms/"/>
    <ds:schemaRef ds:uri="http://purl.org/dc/dcmitype/"/>
    <ds:schemaRef ds:uri="6a010876-3770-4fde-a246-064718848a31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39594953-0794-4abf-ab0d-a7d28a67d603"/>
    <ds:schemaRef ds:uri="http://schemas.microsoft.com/office/infopath/2007/PartnerControls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202E686-A1E1-4277-BE04-710C7548932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6140</TotalTime>
  <Words>905</Words>
  <Application>Microsoft Office PowerPoint</Application>
  <PresentationFormat>Panorámica</PresentationFormat>
  <Paragraphs>228</Paragraphs>
  <Slides>15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5</vt:i4>
      </vt:variant>
    </vt:vector>
  </HeadingPairs>
  <TitlesOfParts>
    <vt:vector size="26" baseType="lpstr">
      <vt:lpstr>Arial</vt:lpstr>
      <vt:lpstr>Calibri</vt:lpstr>
      <vt:lpstr>Courier New</vt:lpstr>
      <vt:lpstr>Helvetica Neue</vt:lpstr>
      <vt:lpstr>Helvetica Neue Medium</vt:lpstr>
      <vt:lpstr>Open Sans</vt:lpstr>
      <vt:lpstr>Wingdings</vt:lpstr>
      <vt:lpstr>1_Tema de Office</vt:lpstr>
      <vt:lpstr>1_Contenido_Achs Seguro Laboral</vt:lpstr>
      <vt:lpstr>Portadas y cierres_Achs Seguro Laboral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PATRICIO ALEJANDRO VALDÉS SAAVEDRA</dc:creator>
  <cp:lastModifiedBy>Salas Tejero, Carmen Gloria</cp:lastModifiedBy>
  <cp:revision>507</cp:revision>
  <cp:lastPrinted>2023-11-14T16:47:40Z</cp:lastPrinted>
  <dcterms:created xsi:type="dcterms:W3CDTF">2023-07-11T20:17:04Z</dcterms:created>
  <dcterms:modified xsi:type="dcterms:W3CDTF">2025-01-14T18:04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2A9FD22760AD147A5C66BC32FA5886E</vt:lpwstr>
  </property>
  <property fmtid="{D5CDD505-2E9C-101B-9397-08002B2CF9AE}" pid="3" name="MediaServiceImageTags">
    <vt:lpwstr/>
  </property>
</Properties>
</file>